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omments/modernComment_2C7_EA05BB82.xml" ContentType="application/vnd.ms-powerpoint.comment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comments/modernComment_322_75F3E2F4.xml" ContentType="application/vnd.ms-powerpoint.comments+xml"/>
  <Override PartName="/ppt/notesSlides/notesSlide33.xml" ContentType="application/vnd.openxmlformats-officedocument.presentationml.notesSlide+xml"/>
  <Override PartName="/ppt/comments/modernComment_300_B71D6359.xml" ContentType="application/vnd.ms-powerpoint.comments+xml"/>
  <Override PartName="/ppt/notesSlides/notesSlide34.xml" ContentType="application/vnd.openxmlformats-officedocument.presentationml.notesSlide+xml"/>
  <Override PartName="/ppt/comments/modernComment_301_1BAB5F3.xml" ContentType="application/vnd.ms-powerpoint.comment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48" r:id="rId4"/>
    <p:sldMasterId id="2147483851" r:id="rId5"/>
  </p:sldMasterIdLst>
  <p:notesMasterIdLst>
    <p:notesMasterId r:id="rId46"/>
  </p:notesMasterIdLst>
  <p:handoutMasterIdLst>
    <p:handoutMasterId r:id="rId47"/>
  </p:handoutMasterIdLst>
  <p:sldIdLst>
    <p:sldId id="803" r:id="rId6"/>
    <p:sldId id="782" r:id="rId7"/>
    <p:sldId id="790" r:id="rId8"/>
    <p:sldId id="797" r:id="rId9"/>
    <p:sldId id="793" r:id="rId10"/>
    <p:sldId id="810" r:id="rId11"/>
    <p:sldId id="805" r:id="rId12"/>
    <p:sldId id="819" r:id="rId13"/>
    <p:sldId id="823" r:id="rId14"/>
    <p:sldId id="820" r:id="rId15"/>
    <p:sldId id="821" r:id="rId16"/>
    <p:sldId id="809" r:id="rId17"/>
    <p:sldId id="828" r:id="rId18"/>
    <p:sldId id="815" r:id="rId19"/>
    <p:sldId id="826" r:id="rId20"/>
    <p:sldId id="817" r:id="rId21"/>
    <p:sldId id="813" r:id="rId22"/>
    <p:sldId id="788" r:id="rId23"/>
    <p:sldId id="829" r:id="rId24"/>
    <p:sldId id="830" r:id="rId25"/>
    <p:sldId id="827" r:id="rId26"/>
    <p:sldId id="292" r:id="rId27"/>
    <p:sldId id="656" r:id="rId28"/>
    <p:sldId id="831" r:id="rId29"/>
    <p:sldId id="808" r:id="rId30"/>
    <p:sldId id="816" r:id="rId31"/>
    <p:sldId id="807" r:id="rId32"/>
    <p:sldId id="801" r:id="rId33"/>
    <p:sldId id="708" r:id="rId34"/>
    <p:sldId id="711" r:id="rId35"/>
    <p:sldId id="804" r:id="rId36"/>
    <p:sldId id="274" r:id="rId37"/>
    <p:sldId id="709" r:id="rId38"/>
    <p:sldId id="659" r:id="rId39"/>
    <p:sldId id="660" r:id="rId40"/>
    <p:sldId id="802" r:id="rId41"/>
    <p:sldId id="766" r:id="rId42"/>
    <p:sldId id="768" r:id="rId43"/>
    <p:sldId id="769" r:id="rId44"/>
    <p:sldId id="770" r:id="rId4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D049E8DA-7CE5-144B-BA7B-088C2F27E85C}">
          <p14:sldIdLst>
            <p14:sldId id="803"/>
          </p14:sldIdLst>
        </p14:section>
        <p14:section name="Slide Examples" id="{ECCA461A-FAB9-294F-BF46-9452BCFAA2B6}">
          <p14:sldIdLst>
            <p14:sldId id="782"/>
            <p14:sldId id="790"/>
            <p14:sldId id="797"/>
            <p14:sldId id="793"/>
            <p14:sldId id="810"/>
            <p14:sldId id="805"/>
            <p14:sldId id="819"/>
            <p14:sldId id="823"/>
            <p14:sldId id="820"/>
            <p14:sldId id="821"/>
            <p14:sldId id="809"/>
            <p14:sldId id="828"/>
            <p14:sldId id="815"/>
            <p14:sldId id="826"/>
            <p14:sldId id="817"/>
            <p14:sldId id="813"/>
            <p14:sldId id="788"/>
            <p14:sldId id="829"/>
            <p14:sldId id="830"/>
            <p14:sldId id="827"/>
            <p14:sldId id="292"/>
            <p14:sldId id="656"/>
            <p14:sldId id="831"/>
            <p14:sldId id="808"/>
            <p14:sldId id="816"/>
            <p14:sldId id="807"/>
            <p14:sldId id="801"/>
            <p14:sldId id="708"/>
          </p14:sldIdLst>
        </p14:section>
        <p14:section name="Optional Slides" id="{1933D7E0-A56C-364B-B9C1-F4804C93DD95}">
          <p14:sldIdLst>
            <p14:sldId id="711"/>
            <p14:sldId id="804"/>
          </p14:sldIdLst>
        </p14:section>
        <p14:section name="For Church Leaders (optional)" id="{8427DAA2-0F55-3D4C-97B7-E822F7BC02E1}">
          <p14:sldIdLst>
            <p14:sldId id="274"/>
            <p14:sldId id="709"/>
            <p14:sldId id="659"/>
            <p14:sldId id="660"/>
            <p14:sldId id="802"/>
          </p14:sldIdLst>
        </p14:section>
        <p14:section name="EnglishConnect (optional)" id="{B1EDC4D8-FC83-064A-BB1A-28B635183587}">
          <p14:sldIdLst>
            <p14:sldId id="766"/>
            <p14:sldId id="768"/>
            <p14:sldId id="769"/>
            <p14:sldId id="7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496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885D405-1711-1831-477F-C787C7AED583}" name="Brian T. Fogelberg" initials="BTF" userId="S::btfogelberg@churchofjesuschrist.org::1f6ae3f9-19fc-49dd-9903-364b80dd3a35" providerId="AD"/>
  <p188:author id="{C8B20735-A759-B601-A480-7F78478AA43C}" name="Eric Eames" initials="EE" userId="S::ezeames@churchofjesuschrist.org::06bdddd5-1534-4c97-9705-6ccfbde64bab" providerId="AD"/>
  <p188:author id="{72C0B539-49F2-F39A-CA35-868BD0F2DB07}" name="Breanne Su'a" initials="BS" userId="S::brichards111@churchofjesuschrist.org::af39664e-f38d-4a6d-a5e8-a9728706e250" providerId="AD"/>
  <p188:author id="{7F53F03F-B685-1726-08D6-9131CED005D3}" name="Krista Tripodi" initials="KT" userId="S::ktrip42@churchofjesuschrist.org::59ef1354-abc1-481b-9b04-be6e7a4c3fbd" providerId="AD"/>
  <p188:author id="{FED73FBC-A036-D1F6-3299-491A76AB1ED9}" name="Kamile Walker" initials="KW" userId="S::kamiwalker@churchofjesuschrist.org::a6eb77e7-33bd-4c57-a3cf-538d131ebd7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rian T. Fogelberg" initials="BTF" lastIdx="18" clrIdx="0">
    <p:extLst>
      <p:ext uri="{19B8F6BF-5375-455C-9EA6-DF929625EA0E}">
        <p15:presenceInfo xmlns:p15="http://schemas.microsoft.com/office/powerpoint/2012/main" userId="S::btfogelberg@ldschurch.org::1f6ae3f9-19fc-49dd-9903-364b80dd3a35" providerId="AD"/>
      </p:ext>
    </p:extLst>
  </p:cmAuthor>
  <p:cmAuthor id="2" name="Emily Slade" initials="ES" lastIdx="2" clrIdx="1">
    <p:extLst>
      <p:ext uri="{19B8F6BF-5375-455C-9EA6-DF929625EA0E}">
        <p15:presenceInfo xmlns:p15="http://schemas.microsoft.com/office/powerpoint/2012/main" userId="S::emilymslade@ldschurch.org::f8fe3680-90cc-453f-bc07-4f3cd29febb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A929D"/>
    <a:srgbClr val="454540"/>
    <a:srgbClr val="000000"/>
    <a:srgbClr val="656365"/>
    <a:srgbClr val="E2EEF0"/>
    <a:srgbClr val="B3DCE7"/>
    <a:srgbClr val="A7CCD5"/>
    <a:srgbClr val="EBF7FA"/>
    <a:srgbClr val="EDEFF4"/>
    <a:srgbClr val="6BAB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121" d="100"/>
          <a:sy n="121" d="100"/>
        </p:scale>
        <p:origin x="744" y="176"/>
      </p:cViewPr>
      <p:guideLst>
        <p:guide orient="horz" pos="249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commentAuthors" Target="commentAuthors.xml"/><Relationship Id="rId8" Type="http://schemas.openxmlformats.org/officeDocument/2006/relationships/slide" Target="slides/slide3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ian T. Fogelberg" userId="S::btfogelberg@churchofjesuschrist.org::1f6ae3f9-19fc-49dd-9903-364b80dd3a35" providerId="AD" clId="Web-{2CEFB028-59E3-4324-B2C1-EB0BE8A212C4}"/>
    <pc:docChg chg="modSld">
      <pc:chgData name="Brian T. Fogelberg" userId="S::btfogelberg@churchofjesuschrist.org::1f6ae3f9-19fc-49dd-9903-364b80dd3a35" providerId="AD" clId="Web-{2CEFB028-59E3-4324-B2C1-EB0BE8A212C4}" dt="2023-07-19T19:25:40.219" v="26" actId="1076"/>
      <pc:docMkLst>
        <pc:docMk/>
      </pc:docMkLst>
      <pc:sldChg chg="modSp">
        <pc:chgData name="Brian T. Fogelberg" userId="S::btfogelberg@churchofjesuschrist.org::1f6ae3f9-19fc-49dd-9903-364b80dd3a35" providerId="AD" clId="Web-{2CEFB028-59E3-4324-B2C1-EB0BE8A212C4}" dt="2023-07-19T19:24:44.577" v="12" actId="1076"/>
        <pc:sldMkLst>
          <pc:docMk/>
          <pc:sldMk cId="1325330900" sldId="708"/>
        </pc:sldMkLst>
        <pc:spChg chg="mod">
          <ac:chgData name="Brian T. Fogelberg" userId="S::btfogelberg@churchofjesuschrist.org::1f6ae3f9-19fc-49dd-9903-364b80dd3a35" providerId="AD" clId="Web-{2CEFB028-59E3-4324-B2C1-EB0BE8A212C4}" dt="2023-07-19T19:24:44.577" v="12" actId="1076"/>
          <ac:spMkLst>
            <pc:docMk/>
            <pc:sldMk cId="1325330900" sldId="708"/>
            <ac:spMk id="6" creationId="{13E8FC40-0B31-F231-63AD-89B6AE3C938A}"/>
          </ac:spMkLst>
        </pc:spChg>
      </pc:sldChg>
      <pc:sldChg chg="modSp">
        <pc:chgData name="Brian T. Fogelberg" userId="S::btfogelberg@churchofjesuschrist.org::1f6ae3f9-19fc-49dd-9903-364b80dd3a35" providerId="AD" clId="Web-{2CEFB028-59E3-4324-B2C1-EB0BE8A212C4}" dt="2023-07-19T19:22:55.497" v="1" actId="20577"/>
        <pc:sldMkLst>
          <pc:docMk/>
          <pc:sldMk cId="1019897426" sldId="793"/>
        </pc:sldMkLst>
        <pc:spChg chg="mod">
          <ac:chgData name="Brian T. Fogelberg" userId="S::btfogelberg@churchofjesuschrist.org::1f6ae3f9-19fc-49dd-9903-364b80dd3a35" providerId="AD" clId="Web-{2CEFB028-59E3-4324-B2C1-EB0BE8A212C4}" dt="2023-07-19T19:22:55.497" v="1" actId="20577"/>
          <ac:spMkLst>
            <pc:docMk/>
            <pc:sldMk cId="1019897426" sldId="793"/>
            <ac:spMk id="3" creationId="{2198D0CB-A244-3645-93EF-5E47B40A5F95}"/>
          </ac:spMkLst>
        </pc:spChg>
      </pc:sldChg>
      <pc:sldChg chg="modSp">
        <pc:chgData name="Brian T. Fogelberg" userId="S::btfogelberg@churchofjesuschrist.org::1f6ae3f9-19fc-49dd-9903-364b80dd3a35" providerId="AD" clId="Web-{2CEFB028-59E3-4324-B2C1-EB0BE8A212C4}" dt="2023-07-19T19:25:40.219" v="26" actId="1076"/>
        <pc:sldMkLst>
          <pc:docMk/>
          <pc:sldMk cId="1978917620" sldId="802"/>
        </pc:sldMkLst>
        <pc:spChg chg="mod">
          <ac:chgData name="Brian T. Fogelberg" userId="S::btfogelberg@churchofjesuschrist.org::1f6ae3f9-19fc-49dd-9903-364b80dd3a35" providerId="AD" clId="Web-{2CEFB028-59E3-4324-B2C1-EB0BE8A212C4}" dt="2023-07-19T19:25:40.219" v="26" actId="1076"/>
          <ac:spMkLst>
            <pc:docMk/>
            <pc:sldMk cId="1978917620" sldId="802"/>
            <ac:spMk id="8" creationId="{04B0412D-7645-E7F5-6B50-3BE275894CA4}"/>
          </ac:spMkLst>
        </pc:spChg>
      </pc:sldChg>
      <pc:sldChg chg="modSp">
        <pc:chgData name="Brian T. Fogelberg" userId="S::btfogelberg@churchofjesuschrist.org::1f6ae3f9-19fc-49dd-9903-364b80dd3a35" providerId="AD" clId="Web-{2CEFB028-59E3-4324-B2C1-EB0BE8A212C4}" dt="2023-07-19T19:24:25.624" v="10" actId="1076"/>
        <pc:sldMkLst>
          <pc:docMk/>
          <pc:sldMk cId="2626650125" sldId="808"/>
        </pc:sldMkLst>
        <pc:spChg chg="mod">
          <ac:chgData name="Brian T. Fogelberg" userId="S::btfogelberg@churchofjesuschrist.org::1f6ae3f9-19fc-49dd-9903-364b80dd3a35" providerId="AD" clId="Web-{2CEFB028-59E3-4324-B2C1-EB0BE8A212C4}" dt="2023-07-19T19:24:25.624" v="10" actId="1076"/>
          <ac:spMkLst>
            <pc:docMk/>
            <pc:sldMk cId="2626650125" sldId="808"/>
            <ac:spMk id="6" creationId="{D4E20C81-273A-914E-0603-17C8EC006BC0}"/>
          </ac:spMkLst>
        </pc:spChg>
      </pc:sldChg>
      <pc:sldChg chg="modSp">
        <pc:chgData name="Brian T. Fogelberg" userId="S::btfogelberg@churchofjesuschrist.org::1f6ae3f9-19fc-49dd-9903-364b80dd3a35" providerId="AD" clId="Web-{2CEFB028-59E3-4324-B2C1-EB0BE8A212C4}" dt="2023-07-19T19:23:29.092" v="7" actId="20577"/>
        <pc:sldMkLst>
          <pc:docMk/>
          <pc:sldMk cId="1753766256" sldId="821"/>
        </pc:sldMkLst>
        <pc:spChg chg="mod">
          <ac:chgData name="Brian T. Fogelberg" userId="S::btfogelberg@churchofjesuschrist.org::1f6ae3f9-19fc-49dd-9903-364b80dd3a35" providerId="AD" clId="Web-{2CEFB028-59E3-4324-B2C1-EB0BE8A212C4}" dt="2023-07-19T19:23:23.779" v="4" actId="20577"/>
          <ac:spMkLst>
            <pc:docMk/>
            <pc:sldMk cId="1753766256" sldId="821"/>
            <ac:spMk id="12" creationId="{6C59D464-D814-8A2A-D041-1B74971D1040}"/>
          </ac:spMkLst>
        </pc:spChg>
        <pc:spChg chg="mod">
          <ac:chgData name="Brian T. Fogelberg" userId="S::btfogelberg@churchofjesuschrist.org::1f6ae3f9-19fc-49dd-9903-364b80dd3a35" providerId="AD" clId="Web-{2CEFB028-59E3-4324-B2C1-EB0BE8A212C4}" dt="2023-07-19T19:23:29.092" v="7" actId="20577"/>
          <ac:spMkLst>
            <pc:docMk/>
            <pc:sldMk cId="1753766256" sldId="821"/>
            <ac:spMk id="16" creationId="{5A735293-87D8-8CAC-E0CA-70E6BB935B57}"/>
          </ac:spMkLst>
        </pc:spChg>
      </pc:sldChg>
    </pc:docChg>
  </pc:docChgLst>
  <pc:docChgLst>
    <pc:chgData name="Krista Tripodi" userId="S::ktrip42@churchofjesuschrist.org::59ef1354-abc1-481b-9b04-be6e7a4c3fbd" providerId="AD" clId="Web-{FF5B4257-22FE-D484-D1F3-A61A1545C718}"/>
    <pc:docChg chg="modSld">
      <pc:chgData name="Krista Tripodi" userId="S::ktrip42@churchofjesuschrist.org::59ef1354-abc1-481b-9b04-be6e7a4c3fbd" providerId="AD" clId="Web-{FF5B4257-22FE-D484-D1F3-A61A1545C718}" dt="2023-07-19T18:12:46.648" v="20" actId="20577"/>
      <pc:docMkLst>
        <pc:docMk/>
      </pc:docMkLst>
      <pc:sldChg chg="modSp">
        <pc:chgData name="Krista Tripodi" userId="S::ktrip42@churchofjesuschrist.org::59ef1354-abc1-481b-9b04-be6e7a4c3fbd" providerId="AD" clId="Web-{FF5B4257-22FE-D484-D1F3-A61A1545C718}" dt="2023-07-19T18:12:46.648" v="20" actId="20577"/>
        <pc:sldMkLst>
          <pc:docMk/>
          <pc:sldMk cId="3075817669" sldId="805"/>
        </pc:sldMkLst>
        <pc:spChg chg="mod">
          <ac:chgData name="Krista Tripodi" userId="S::ktrip42@churchofjesuschrist.org::59ef1354-abc1-481b-9b04-be6e7a4c3fbd" providerId="AD" clId="Web-{FF5B4257-22FE-D484-D1F3-A61A1545C718}" dt="2023-07-19T18:12:46.648" v="20" actId="20577"/>
          <ac:spMkLst>
            <pc:docMk/>
            <pc:sldMk cId="3075817669" sldId="805"/>
            <ac:spMk id="5" creationId="{85A8D91E-9E2B-3E60-BC05-352ECCCECD29}"/>
          </ac:spMkLst>
        </pc:spChg>
      </pc:sldChg>
      <pc:sldChg chg="modSp">
        <pc:chgData name="Krista Tripodi" userId="S::ktrip42@churchofjesuschrist.org::59ef1354-abc1-481b-9b04-be6e7a4c3fbd" providerId="AD" clId="Web-{FF5B4257-22FE-D484-D1F3-A61A1545C718}" dt="2023-07-19T18:08:48.872" v="16" actId="20577"/>
        <pc:sldMkLst>
          <pc:docMk/>
          <pc:sldMk cId="2744313862" sldId="807"/>
        </pc:sldMkLst>
        <pc:spChg chg="mod">
          <ac:chgData name="Krista Tripodi" userId="S::ktrip42@churchofjesuschrist.org::59ef1354-abc1-481b-9b04-be6e7a4c3fbd" providerId="AD" clId="Web-{FF5B4257-22FE-D484-D1F3-A61A1545C718}" dt="2023-07-19T18:08:48.872" v="16" actId="20577"/>
          <ac:spMkLst>
            <pc:docMk/>
            <pc:sldMk cId="2744313862" sldId="807"/>
            <ac:spMk id="6" creationId="{09C67372-16C7-8323-2094-418D5E879626}"/>
          </ac:spMkLst>
        </pc:spChg>
      </pc:sldChg>
      <pc:sldChg chg="modSp">
        <pc:chgData name="Krista Tripodi" userId="S::ktrip42@churchofjesuschrist.org::59ef1354-abc1-481b-9b04-be6e7a4c3fbd" providerId="AD" clId="Web-{FF5B4257-22FE-D484-D1F3-A61A1545C718}" dt="2023-07-19T18:07:29.822" v="11" actId="20577"/>
        <pc:sldMkLst>
          <pc:docMk/>
          <pc:sldMk cId="2626650125" sldId="808"/>
        </pc:sldMkLst>
        <pc:spChg chg="mod">
          <ac:chgData name="Krista Tripodi" userId="S::ktrip42@churchofjesuschrist.org::59ef1354-abc1-481b-9b04-be6e7a4c3fbd" providerId="AD" clId="Web-{FF5B4257-22FE-D484-D1F3-A61A1545C718}" dt="2023-07-19T18:07:29.822" v="11" actId="20577"/>
          <ac:spMkLst>
            <pc:docMk/>
            <pc:sldMk cId="2626650125" sldId="808"/>
            <ac:spMk id="6" creationId="{D4E20C81-273A-914E-0603-17C8EC006BC0}"/>
          </ac:spMkLst>
        </pc:spChg>
      </pc:sldChg>
      <pc:sldChg chg="modSp">
        <pc:chgData name="Krista Tripodi" userId="S::ktrip42@churchofjesuschrist.org::59ef1354-abc1-481b-9b04-be6e7a4c3fbd" providerId="AD" clId="Web-{FF5B4257-22FE-D484-D1F3-A61A1545C718}" dt="2023-07-19T18:07:00.711" v="9" actId="20577"/>
        <pc:sldMkLst>
          <pc:docMk/>
          <pc:sldMk cId="386647586" sldId="809"/>
        </pc:sldMkLst>
        <pc:spChg chg="mod">
          <ac:chgData name="Krista Tripodi" userId="S::ktrip42@churchofjesuschrist.org::59ef1354-abc1-481b-9b04-be6e7a4c3fbd" providerId="AD" clId="Web-{FF5B4257-22FE-D484-D1F3-A61A1545C718}" dt="2023-07-19T18:07:00.711" v="9" actId="20577"/>
          <ac:spMkLst>
            <pc:docMk/>
            <pc:sldMk cId="386647586" sldId="809"/>
            <ac:spMk id="3" creationId="{6A57A1E5-BB56-3949-BF3A-C64C36CAB647}"/>
          </ac:spMkLst>
        </pc:spChg>
      </pc:sldChg>
    </pc:docChg>
  </pc:docChgLst>
  <pc:docChgLst>
    <pc:chgData name="Brian T. Fogelberg" userId="1f6ae3f9-19fc-49dd-9903-364b80dd3a35" providerId="ADAL" clId="{0AADB6E1-483D-5B47-B466-37C2686BE814}"/>
    <pc:docChg chg="modSld">
      <pc:chgData name="Brian T. Fogelberg" userId="1f6ae3f9-19fc-49dd-9903-364b80dd3a35" providerId="ADAL" clId="{0AADB6E1-483D-5B47-B466-37C2686BE814}" dt="2024-01-31T17:22:52.898" v="1" actId="20577"/>
      <pc:docMkLst>
        <pc:docMk/>
      </pc:docMkLst>
      <pc:sldChg chg="modSp mod">
        <pc:chgData name="Brian T. Fogelberg" userId="1f6ae3f9-19fc-49dd-9903-364b80dd3a35" providerId="ADAL" clId="{0AADB6E1-483D-5B47-B466-37C2686BE814}" dt="2024-01-31T17:22:52.898" v="1" actId="20577"/>
        <pc:sldMkLst>
          <pc:docMk/>
          <pc:sldMk cId="4270646571" sldId="797"/>
        </pc:sldMkLst>
        <pc:spChg chg="mod">
          <ac:chgData name="Brian T. Fogelberg" userId="1f6ae3f9-19fc-49dd-9903-364b80dd3a35" providerId="ADAL" clId="{0AADB6E1-483D-5B47-B466-37C2686BE814}" dt="2024-01-31T17:22:52.898" v="1" actId="20577"/>
          <ac:spMkLst>
            <pc:docMk/>
            <pc:sldMk cId="4270646571" sldId="797"/>
            <ac:spMk id="5" creationId="{7615F437-AACA-9175-406B-64C66D810847}"/>
          </ac:spMkLst>
        </pc:spChg>
      </pc:sldChg>
    </pc:docChg>
  </pc:docChgLst>
  <pc:docChgLst>
    <pc:chgData name="Kamile Walker" userId="S::kamiwalker@churchofjesuschrist.org::a6eb77e7-33bd-4c57-a3cf-538d131ebd75" providerId="AD" clId="Web-{BB03ABA9-F926-E3D3-FD92-5F51DA332E39}"/>
    <pc:docChg chg="modSld">
      <pc:chgData name="Kamile Walker" userId="S::kamiwalker@churchofjesuschrist.org::a6eb77e7-33bd-4c57-a3cf-538d131ebd75" providerId="AD" clId="Web-{BB03ABA9-F926-E3D3-FD92-5F51DA332E39}" dt="2023-07-19T18:46:19.714" v="58" actId="1076"/>
      <pc:docMkLst>
        <pc:docMk/>
      </pc:docMkLst>
      <pc:sldChg chg="addSp delSp modSp">
        <pc:chgData name="Kamile Walker" userId="S::kamiwalker@churchofjesuschrist.org::a6eb77e7-33bd-4c57-a3cf-538d131ebd75" providerId="AD" clId="Web-{BB03ABA9-F926-E3D3-FD92-5F51DA332E39}" dt="2023-07-19T18:46:19.714" v="58" actId="1076"/>
        <pc:sldMkLst>
          <pc:docMk/>
          <pc:sldMk cId="3051388098" sldId="766"/>
        </pc:sldMkLst>
        <pc:spChg chg="add del">
          <ac:chgData name="Kamile Walker" userId="S::kamiwalker@churchofjesuschrist.org::a6eb77e7-33bd-4c57-a3cf-538d131ebd75" providerId="AD" clId="Web-{BB03ABA9-F926-E3D3-FD92-5F51DA332E39}" dt="2023-07-19T18:36:22.064" v="28"/>
          <ac:spMkLst>
            <pc:docMk/>
            <pc:sldMk cId="3051388098" sldId="766"/>
            <ac:spMk id="4" creationId="{1C5A964E-2B82-7742-809E-9CBF786AEDB8}"/>
          </ac:spMkLst>
        </pc:spChg>
        <pc:picChg chg="add del mod">
          <ac:chgData name="Kamile Walker" userId="S::kamiwalker@churchofjesuschrist.org::a6eb77e7-33bd-4c57-a3cf-538d131ebd75" providerId="AD" clId="Web-{BB03ABA9-F926-E3D3-FD92-5F51DA332E39}" dt="2023-07-19T18:26:33.524" v="23"/>
          <ac:picMkLst>
            <pc:docMk/>
            <pc:sldMk cId="3051388098" sldId="766"/>
            <ac:picMk id="3" creationId="{43968097-35BC-76C4-F3A6-439CF677E03C}"/>
          </ac:picMkLst>
        </pc:picChg>
        <pc:picChg chg="add del mod">
          <ac:chgData name="Kamile Walker" userId="S::kamiwalker@churchofjesuschrist.org::a6eb77e7-33bd-4c57-a3cf-538d131ebd75" providerId="AD" clId="Web-{BB03ABA9-F926-E3D3-FD92-5F51DA332E39}" dt="2023-07-19T18:28:03.062" v="25"/>
          <ac:picMkLst>
            <pc:docMk/>
            <pc:sldMk cId="3051388098" sldId="766"/>
            <ac:picMk id="5" creationId="{8CF67765-D866-2EC5-58BB-4251B1CAA829}"/>
          </ac:picMkLst>
        </pc:picChg>
        <pc:picChg chg="add del mod">
          <ac:chgData name="Kamile Walker" userId="S::kamiwalker@churchofjesuschrist.org::a6eb77e7-33bd-4c57-a3cf-538d131ebd75" providerId="AD" clId="Web-{BB03ABA9-F926-E3D3-FD92-5F51DA332E39}" dt="2023-07-19T18:37:00.441" v="33"/>
          <ac:picMkLst>
            <pc:docMk/>
            <pc:sldMk cId="3051388098" sldId="766"/>
            <ac:picMk id="6" creationId="{85CEADFD-0548-23BB-7E77-D8D7F6260672}"/>
          </ac:picMkLst>
        </pc:picChg>
        <pc:picChg chg="add del mod">
          <ac:chgData name="Kamile Walker" userId="S::kamiwalker@churchofjesuschrist.org::a6eb77e7-33bd-4c57-a3cf-538d131ebd75" providerId="AD" clId="Web-{BB03ABA9-F926-E3D3-FD92-5F51DA332E39}" dt="2023-07-19T18:46:19.714" v="58" actId="1076"/>
          <ac:picMkLst>
            <pc:docMk/>
            <pc:sldMk cId="3051388098" sldId="766"/>
            <ac:picMk id="1026" creationId="{DE5DFED8-D98A-5E4C-A3FB-FF0EBB33E8D0}"/>
          </ac:picMkLst>
        </pc:picChg>
      </pc:sldChg>
      <pc:sldChg chg="modSp">
        <pc:chgData name="Kamile Walker" userId="S::kamiwalker@churchofjesuschrist.org::a6eb77e7-33bd-4c57-a3cf-538d131ebd75" providerId="AD" clId="Web-{BB03ABA9-F926-E3D3-FD92-5F51DA332E39}" dt="2023-07-17T20:33:51.362" v="2" actId="20577"/>
        <pc:sldMkLst>
          <pc:docMk/>
          <pc:sldMk cId="3075817669" sldId="805"/>
        </pc:sldMkLst>
        <pc:spChg chg="mod">
          <ac:chgData name="Kamile Walker" userId="S::kamiwalker@churchofjesuschrist.org::a6eb77e7-33bd-4c57-a3cf-538d131ebd75" providerId="AD" clId="Web-{BB03ABA9-F926-E3D3-FD92-5F51DA332E39}" dt="2023-07-17T20:33:51.362" v="2" actId="20577"/>
          <ac:spMkLst>
            <pc:docMk/>
            <pc:sldMk cId="3075817669" sldId="805"/>
            <ac:spMk id="5" creationId="{85A8D91E-9E2B-3E60-BC05-352ECCCECD29}"/>
          </ac:spMkLst>
        </pc:spChg>
      </pc:sldChg>
      <pc:sldChg chg="modSp">
        <pc:chgData name="Kamile Walker" userId="S::kamiwalker@churchofjesuschrist.org::a6eb77e7-33bd-4c57-a3cf-538d131ebd75" providerId="AD" clId="Web-{BB03ABA9-F926-E3D3-FD92-5F51DA332E39}" dt="2023-07-18T16:31:05.511" v="6" actId="1076"/>
        <pc:sldMkLst>
          <pc:docMk/>
          <pc:sldMk cId="3569784783" sldId="819"/>
        </pc:sldMkLst>
        <pc:spChg chg="mod">
          <ac:chgData name="Kamile Walker" userId="S::kamiwalker@churchofjesuschrist.org::a6eb77e7-33bd-4c57-a3cf-538d131ebd75" providerId="AD" clId="Web-{BB03ABA9-F926-E3D3-FD92-5F51DA332E39}" dt="2023-07-18T16:31:05.511" v="6" actId="1076"/>
          <ac:spMkLst>
            <pc:docMk/>
            <pc:sldMk cId="3569784783" sldId="819"/>
            <ac:spMk id="20" creationId="{16521770-80B6-B447-80F3-E433B45DFE28}"/>
          </ac:spMkLst>
        </pc:spChg>
      </pc:sldChg>
    </pc:docChg>
  </pc:docChgLst>
  <pc:docChgLst>
    <pc:chgData name="Yessica María Cardona Dávila" userId="S::yessidavila@churchofjesuschrist.org::dbd894c0-d27b-4e62-88e8-cfec87c20a86" providerId="AD" clId="Web-{5A5514D6-69A7-1A68-EB40-DF3BABD2E9B9}"/>
    <pc:docChg chg="modSld sldOrd">
      <pc:chgData name="Yessica María Cardona Dávila" userId="S::yessidavila@churchofjesuschrist.org::dbd894c0-d27b-4e62-88e8-cfec87c20a86" providerId="AD" clId="Web-{5A5514D6-69A7-1A68-EB40-DF3BABD2E9B9}" dt="2023-07-19T19:35:22.259" v="49" actId="14100"/>
      <pc:docMkLst>
        <pc:docMk/>
      </pc:docMkLst>
      <pc:sldChg chg="modSp">
        <pc:chgData name="Yessica María Cardona Dávila" userId="S::yessidavila@churchofjesuschrist.org::dbd894c0-d27b-4e62-88e8-cfec87c20a86" providerId="AD" clId="Web-{5A5514D6-69A7-1A68-EB40-DF3BABD2E9B9}" dt="2023-07-19T19:30:30.832" v="36" actId="1076"/>
        <pc:sldMkLst>
          <pc:docMk/>
          <pc:sldMk cId="1564383633" sldId="709"/>
        </pc:sldMkLst>
        <pc:spChg chg="mod">
          <ac:chgData name="Yessica María Cardona Dávila" userId="S::yessidavila@churchofjesuschrist.org::dbd894c0-d27b-4e62-88e8-cfec87c20a86" providerId="AD" clId="Web-{5A5514D6-69A7-1A68-EB40-DF3BABD2E9B9}" dt="2023-07-19T19:30:30.832" v="36" actId="1076"/>
          <ac:spMkLst>
            <pc:docMk/>
            <pc:sldMk cId="1564383633" sldId="709"/>
            <ac:spMk id="5" creationId="{270E3A0C-3B09-9F46-BFF6-5784E194DBBB}"/>
          </ac:spMkLst>
        </pc:spChg>
      </pc:sldChg>
      <pc:sldChg chg="ord">
        <pc:chgData name="Yessica María Cardona Dávila" userId="S::yessidavila@churchofjesuschrist.org::dbd894c0-d27b-4e62-88e8-cfec87c20a86" providerId="AD" clId="Web-{5A5514D6-69A7-1A68-EB40-DF3BABD2E9B9}" dt="2023-07-19T19:24:03.811" v="0"/>
        <pc:sldMkLst>
          <pc:docMk/>
          <pc:sldMk cId="1019897426" sldId="793"/>
        </pc:sldMkLst>
      </pc:sldChg>
      <pc:sldChg chg="modSp">
        <pc:chgData name="Yessica María Cardona Dávila" userId="S::yessidavila@churchofjesuschrist.org::dbd894c0-d27b-4e62-88e8-cfec87c20a86" providerId="AD" clId="Web-{5A5514D6-69A7-1A68-EB40-DF3BABD2E9B9}" dt="2023-07-19T19:33:26.398" v="40" actId="20577"/>
        <pc:sldMkLst>
          <pc:docMk/>
          <pc:sldMk cId="2744313862" sldId="807"/>
        </pc:sldMkLst>
        <pc:spChg chg="mod">
          <ac:chgData name="Yessica María Cardona Dávila" userId="S::yessidavila@churchofjesuschrist.org::dbd894c0-d27b-4e62-88e8-cfec87c20a86" providerId="AD" clId="Web-{5A5514D6-69A7-1A68-EB40-DF3BABD2E9B9}" dt="2023-07-19T19:33:26.398" v="40" actId="20577"/>
          <ac:spMkLst>
            <pc:docMk/>
            <pc:sldMk cId="2744313862" sldId="807"/>
            <ac:spMk id="6" creationId="{09C67372-16C7-8323-2094-418D5E879626}"/>
          </ac:spMkLst>
        </pc:spChg>
      </pc:sldChg>
      <pc:sldChg chg="modSp">
        <pc:chgData name="Yessica María Cardona Dávila" userId="S::yessidavila@churchofjesuschrist.org::dbd894c0-d27b-4e62-88e8-cfec87c20a86" providerId="AD" clId="Web-{5A5514D6-69A7-1A68-EB40-DF3BABD2E9B9}" dt="2023-07-19T19:33:40.570" v="42" actId="20577"/>
        <pc:sldMkLst>
          <pc:docMk/>
          <pc:sldMk cId="2626650125" sldId="808"/>
        </pc:sldMkLst>
        <pc:spChg chg="mod">
          <ac:chgData name="Yessica María Cardona Dávila" userId="S::yessidavila@churchofjesuschrist.org::dbd894c0-d27b-4e62-88e8-cfec87c20a86" providerId="AD" clId="Web-{5A5514D6-69A7-1A68-EB40-DF3BABD2E9B9}" dt="2023-07-19T19:33:40.570" v="42" actId="20577"/>
          <ac:spMkLst>
            <pc:docMk/>
            <pc:sldMk cId="2626650125" sldId="808"/>
            <ac:spMk id="6" creationId="{D4E20C81-273A-914E-0603-17C8EC006BC0}"/>
          </ac:spMkLst>
        </pc:spChg>
      </pc:sldChg>
      <pc:sldChg chg="modSp">
        <pc:chgData name="Yessica María Cardona Dávila" userId="S::yessidavila@churchofjesuschrist.org::dbd894c0-d27b-4e62-88e8-cfec87c20a86" providerId="AD" clId="Web-{5A5514D6-69A7-1A68-EB40-DF3BABD2E9B9}" dt="2023-07-19T19:26:01.156" v="6" actId="20577"/>
        <pc:sldMkLst>
          <pc:docMk/>
          <pc:sldMk cId="1441974530" sldId="815"/>
        </pc:sldMkLst>
        <pc:spChg chg="mod">
          <ac:chgData name="Yessica María Cardona Dávila" userId="S::yessidavila@churchofjesuschrist.org::dbd894c0-d27b-4e62-88e8-cfec87c20a86" providerId="AD" clId="Web-{5A5514D6-69A7-1A68-EB40-DF3BABD2E9B9}" dt="2023-07-19T19:26:01.156" v="6" actId="20577"/>
          <ac:spMkLst>
            <pc:docMk/>
            <pc:sldMk cId="1441974530" sldId="815"/>
            <ac:spMk id="2" creationId="{77C01B92-77F4-0A39-C1D5-76BF30E3689A}"/>
          </ac:spMkLst>
        </pc:spChg>
      </pc:sldChg>
      <pc:sldChg chg="modSp">
        <pc:chgData name="Yessica María Cardona Dávila" userId="S::yessidavila@churchofjesuschrist.org::dbd894c0-d27b-4e62-88e8-cfec87c20a86" providerId="AD" clId="Web-{5A5514D6-69A7-1A68-EB40-DF3BABD2E9B9}" dt="2023-07-19T19:29:44.285" v="34" actId="20577"/>
        <pc:sldMkLst>
          <pc:docMk/>
          <pc:sldMk cId="1480508468" sldId="816"/>
        </pc:sldMkLst>
        <pc:spChg chg="mod">
          <ac:chgData name="Yessica María Cardona Dávila" userId="S::yessidavila@churchofjesuschrist.org::dbd894c0-d27b-4e62-88e8-cfec87c20a86" providerId="AD" clId="Web-{5A5514D6-69A7-1A68-EB40-DF3BABD2E9B9}" dt="2023-07-19T19:29:44.285" v="34" actId="20577"/>
          <ac:spMkLst>
            <pc:docMk/>
            <pc:sldMk cId="1480508468" sldId="816"/>
            <ac:spMk id="7" creationId="{72D8B01B-E85A-CFCC-0B85-4D1CC7F40238}"/>
          </ac:spMkLst>
        </pc:spChg>
      </pc:sldChg>
      <pc:sldChg chg="modSp">
        <pc:chgData name="Yessica María Cardona Dávila" userId="S::yessidavila@churchofjesuschrist.org::dbd894c0-d27b-4e62-88e8-cfec87c20a86" providerId="AD" clId="Web-{5A5514D6-69A7-1A68-EB40-DF3BABD2E9B9}" dt="2023-07-19T19:26:44.204" v="15" actId="20577"/>
        <pc:sldMkLst>
          <pc:docMk/>
          <pc:sldMk cId="3056659758" sldId="817"/>
        </pc:sldMkLst>
        <pc:spChg chg="mod">
          <ac:chgData name="Yessica María Cardona Dávila" userId="S::yessidavila@churchofjesuschrist.org::dbd894c0-d27b-4e62-88e8-cfec87c20a86" providerId="AD" clId="Web-{5A5514D6-69A7-1A68-EB40-DF3BABD2E9B9}" dt="2023-07-19T19:26:44.204" v="15" actId="20577"/>
          <ac:spMkLst>
            <pc:docMk/>
            <pc:sldMk cId="3056659758" sldId="817"/>
            <ac:spMk id="2" creationId="{77C01B92-77F4-0A39-C1D5-76BF30E3689A}"/>
          </ac:spMkLst>
        </pc:spChg>
      </pc:sldChg>
      <pc:sldChg chg="modSp">
        <pc:chgData name="Yessica María Cardona Dávila" userId="S::yessidavila@churchofjesuschrist.org::dbd894c0-d27b-4e62-88e8-cfec87c20a86" providerId="AD" clId="Web-{5A5514D6-69A7-1A68-EB40-DF3BABD2E9B9}" dt="2023-07-19T19:35:22.259" v="49" actId="14100"/>
        <pc:sldMkLst>
          <pc:docMk/>
          <pc:sldMk cId="1913996765" sldId="828"/>
        </pc:sldMkLst>
        <pc:spChg chg="mod">
          <ac:chgData name="Yessica María Cardona Dávila" userId="S::yessidavila@churchofjesuschrist.org::dbd894c0-d27b-4e62-88e8-cfec87c20a86" providerId="AD" clId="Web-{5A5514D6-69A7-1A68-EB40-DF3BABD2E9B9}" dt="2023-07-19T19:35:22.259" v="49" actId="14100"/>
          <ac:spMkLst>
            <pc:docMk/>
            <pc:sldMk cId="1913996765" sldId="828"/>
            <ac:spMk id="3" creationId="{6A57A1E5-BB56-3949-BF3A-C64C36CAB647}"/>
          </ac:spMkLst>
        </pc:spChg>
      </pc:sldChg>
      <pc:sldChg chg="modSp">
        <pc:chgData name="Yessica María Cardona Dávila" userId="S::yessidavila@churchofjesuschrist.org::dbd894c0-d27b-4e62-88e8-cfec87c20a86" providerId="AD" clId="Web-{5A5514D6-69A7-1A68-EB40-DF3BABD2E9B9}" dt="2023-07-19T19:27:24.673" v="31" actId="20577"/>
        <pc:sldMkLst>
          <pc:docMk/>
          <pc:sldMk cId="2716860405" sldId="830"/>
        </pc:sldMkLst>
        <pc:spChg chg="mod">
          <ac:chgData name="Yessica María Cardona Dávila" userId="S::yessidavila@churchofjesuschrist.org::dbd894c0-d27b-4e62-88e8-cfec87c20a86" providerId="AD" clId="Web-{5A5514D6-69A7-1A68-EB40-DF3BABD2E9B9}" dt="2023-07-19T19:27:24.673" v="31" actId="20577"/>
          <ac:spMkLst>
            <pc:docMk/>
            <pc:sldMk cId="2716860405" sldId="830"/>
            <ac:spMk id="7" creationId="{84DCE381-A32C-6D8A-E72B-2D79BB72329D}"/>
          </ac:spMkLst>
        </pc:spChg>
      </pc:sldChg>
    </pc:docChg>
  </pc:docChgLst>
  <pc:docChgLst>
    <pc:chgData name="Brian T. Fogelberg" userId="1f6ae3f9-19fc-49dd-9903-364b80dd3a35" providerId="ADAL" clId="{2BE251B5-2ABF-784F-ABC0-843424808EFA}"/>
    <pc:docChg chg="undo custSel modSld">
      <pc:chgData name="Brian T. Fogelberg" userId="1f6ae3f9-19fc-49dd-9903-364b80dd3a35" providerId="ADAL" clId="{2BE251B5-2ABF-784F-ABC0-843424808EFA}" dt="2023-07-19T16:16:23.937" v="81" actId="20577"/>
      <pc:docMkLst>
        <pc:docMk/>
      </pc:docMkLst>
      <pc:sldChg chg="modSp mod">
        <pc:chgData name="Brian T. Fogelberg" userId="1f6ae3f9-19fc-49dd-9903-364b80dd3a35" providerId="ADAL" clId="{2BE251B5-2ABF-784F-ABC0-843424808EFA}" dt="2023-07-19T16:15:05.377" v="49" actId="27636"/>
        <pc:sldMkLst>
          <pc:docMk/>
          <pc:sldMk cId="2524528356" sldId="274"/>
        </pc:sldMkLst>
        <pc:spChg chg="mod">
          <ac:chgData name="Brian T. Fogelberg" userId="1f6ae3f9-19fc-49dd-9903-364b80dd3a35" providerId="ADAL" clId="{2BE251B5-2ABF-784F-ABC0-843424808EFA}" dt="2023-07-19T16:15:05.377" v="49" actId="27636"/>
          <ac:spMkLst>
            <pc:docMk/>
            <pc:sldMk cId="2524528356" sldId="274"/>
            <ac:spMk id="14" creationId="{3D19938C-6335-2249-A13D-06A60FE39D74}"/>
          </ac:spMkLst>
        </pc:spChg>
      </pc:sldChg>
      <pc:sldChg chg="modSp mod">
        <pc:chgData name="Brian T. Fogelberg" userId="1f6ae3f9-19fc-49dd-9903-364b80dd3a35" providerId="ADAL" clId="{2BE251B5-2ABF-784F-ABC0-843424808EFA}" dt="2023-07-19T16:16:14.300" v="80" actId="1076"/>
        <pc:sldMkLst>
          <pc:docMk/>
          <pc:sldMk cId="2661863841" sldId="659"/>
        </pc:sldMkLst>
        <pc:spChg chg="mod">
          <ac:chgData name="Brian T. Fogelberg" userId="1f6ae3f9-19fc-49dd-9903-364b80dd3a35" providerId="ADAL" clId="{2BE251B5-2ABF-784F-ABC0-843424808EFA}" dt="2023-07-19T16:16:14.300" v="80" actId="1076"/>
          <ac:spMkLst>
            <pc:docMk/>
            <pc:sldMk cId="2661863841" sldId="659"/>
            <ac:spMk id="4" creationId="{B584CEB7-306D-9D4B-8A46-9E23D7A9C839}"/>
          </ac:spMkLst>
        </pc:spChg>
        <pc:spChg chg="mod">
          <ac:chgData name="Brian T. Fogelberg" userId="1f6ae3f9-19fc-49dd-9903-364b80dd3a35" providerId="ADAL" clId="{2BE251B5-2ABF-784F-ABC0-843424808EFA}" dt="2023-07-19T16:16:14.300" v="80" actId="1076"/>
          <ac:spMkLst>
            <pc:docMk/>
            <pc:sldMk cId="2661863841" sldId="659"/>
            <ac:spMk id="7" creationId="{19BA7E76-E466-9240-A419-49D1B14B079B}"/>
          </ac:spMkLst>
        </pc:spChg>
      </pc:sldChg>
      <pc:sldChg chg="modSp mod">
        <pc:chgData name="Brian T. Fogelberg" userId="1f6ae3f9-19fc-49dd-9903-364b80dd3a35" providerId="ADAL" clId="{2BE251B5-2ABF-784F-ABC0-843424808EFA}" dt="2023-07-19T16:16:06.566" v="79" actId="1076"/>
        <pc:sldMkLst>
          <pc:docMk/>
          <pc:sldMk cId="2180367955" sldId="660"/>
        </pc:sldMkLst>
        <pc:spChg chg="mod">
          <ac:chgData name="Brian T. Fogelberg" userId="1f6ae3f9-19fc-49dd-9903-364b80dd3a35" providerId="ADAL" clId="{2BE251B5-2ABF-784F-ABC0-843424808EFA}" dt="2023-07-19T16:16:06.566" v="79" actId="1076"/>
          <ac:spMkLst>
            <pc:docMk/>
            <pc:sldMk cId="2180367955" sldId="660"/>
            <ac:spMk id="4" creationId="{B584CEB7-306D-9D4B-8A46-9E23D7A9C839}"/>
          </ac:spMkLst>
        </pc:spChg>
        <pc:spChg chg="mod">
          <ac:chgData name="Brian T. Fogelberg" userId="1f6ae3f9-19fc-49dd-9903-364b80dd3a35" providerId="ADAL" clId="{2BE251B5-2ABF-784F-ABC0-843424808EFA}" dt="2023-07-19T16:16:06.566" v="79" actId="1076"/>
          <ac:spMkLst>
            <pc:docMk/>
            <pc:sldMk cId="2180367955" sldId="660"/>
            <ac:spMk id="8" creationId="{024E6555-4F67-0341-8758-449993CE3712}"/>
          </ac:spMkLst>
        </pc:spChg>
      </pc:sldChg>
      <pc:sldChg chg="modSp mod">
        <pc:chgData name="Brian T. Fogelberg" userId="1f6ae3f9-19fc-49dd-9903-364b80dd3a35" providerId="ADAL" clId="{2BE251B5-2ABF-784F-ABC0-843424808EFA}" dt="2023-07-19T16:15:41.247" v="76" actId="1036"/>
        <pc:sldMkLst>
          <pc:docMk/>
          <pc:sldMk cId="1564383633" sldId="709"/>
        </pc:sldMkLst>
        <pc:spChg chg="mod">
          <ac:chgData name="Brian T. Fogelberg" userId="1f6ae3f9-19fc-49dd-9903-364b80dd3a35" providerId="ADAL" clId="{2BE251B5-2ABF-784F-ABC0-843424808EFA}" dt="2023-07-19T16:15:21.281" v="68" actId="14100"/>
          <ac:spMkLst>
            <pc:docMk/>
            <pc:sldMk cId="1564383633" sldId="709"/>
            <ac:spMk id="6" creationId="{38CDA766-A8E2-574E-A2B3-C6AF89A2092F}"/>
          </ac:spMkLst>
        </pc:spChg>
        <pc:spChg chg="mod">
          <ac:chgData name="Brian T. Fogelberg" userId="1f6ae3f9-19fc-49dd-9903-364b80dd3a35" providerId="ADAL" clId="{2BE251B5-2ABF-784F-ABC0-843424808EFA}" dt="2023-07-19T16:15:41.247" v="76" actId="1036"/>
          <ac:spMkLst>
            <pc:docMk/>
            <pc:sldMk cId="1564383633" sldId="709"/>
            <ac:spMk id="7" creationId="{298BE645-7BD3-584B-967F-C6BFDCFFF150}"/>
          </ac:spMkLst>
        </pc:spChg>
      </pc:sldChg>
      <pc:sldChg chg="modSp">
        <pc:chgData name="Brian T. Fogelberg" userId="1f6ae3f9-19fc-49dd-9903-364b80dd3a35" providerId="ADAL" clId="{2BE251B5-2ABF-784F-ABC0-843424808EFA}" dt="2023-07-19T16:16:23.937" v="81" actId="20577"/>
        <pc:sldMkLst>
          <pc:docMk/>
          <pc:sldMk cId="29013491" sldId="769"/>
        </pc:sldMkLst>
        <pc:spChg chg="mod">
          <ac:chgData name="Brian T. Fogelberg" userId="1f6ae3f9-19fc-49dd-9903-364b80dd3a35" providerId="ADAL" clId="{2BE251B5-2ABF-784F-ABC0-843424808EFA}" dt="2023-07-19T16:16:23.937" v="81" actId="20577"/>
          <ac:spMkLst>
            <pc:docMk/>
            <pc:sldMk cId="29013491" sldId="769"/>
            <ac:spMk id="5" creationId="{CD13F077-4AC6-394F-B59D-28A4A9055A36}"/>
          </ac:spMkLst>
        </pc:spChg>
      </pc:sldChg>
      <pc:sldChg chg="modSp mod">
        <pc:chgData name="Brian T. Fogelberg" userId="1f6ae3f9-19fc-49dd-9903-364b80dd3a35" providerId="ADAL" clId="{2BE251B5-2ABF-784F-ABC0-843424808EFA}" dt="2023-07-19T16:13:20.876" v="39" actId="1076"/>
        <pc:sldMkLst>
          <pc:docMk/>
          <pc:sldMk cId="2999881190" sldId="788"/>
        </pc:sldMkLst>
        <pc:spChg chg="mod">
          <ac:chgData name="Brian T. Fogelberg" userId="1f6ae3f9-19fc-49dd-9903-364b80dd3a35" providerId="ADAL" clId="{2BE251B5-2ABF-784F-ABC0-843424808EFA}" dt="2023-07-19T16:13:20.876" v="39" actId="1076"/>
          <ac:spMkLst>
            <pc:docMk/>
            <pc:sldMk cId="2999881190" sldId="788"/>
            <ac:spMk id="2" creationId="{29993704-1A86-D204-ACD4-3DE44E38FA59}"/>
          </ac:spMkLst>
        </pc:spChg>
        <pc:spChg chg="mod">
          <ac:chgData name="Brian T. Fogelberg" userId="1f6ae3f9-19fc-49dd-9903-364b80dd3a35" providerId="ADAL" clId="{2BE251B5-2ABF-784F-ABC0-843424808EFA}" dt="2023-07-19T16:13:14.059" v="37" actId="14100"/>
          <ac:spMkLst>
            <pc:docMk/>
            <pc:sldMk cId="2999881190" sldId="788"/>
            <ac:spMk id="16" creationId="{62544AEE-9FDC-214D-8A9F-476D5C29C398}"/>
          </ac:spMkLst>
        </pc:spChg>
      </pc:sldChg>
      <pc:sldChg chg="modSp mod">
        <pc:chgData name="Brian T. Fogelberg" userId="1f6ae3f9-19fc-49dd-9903-364b80dd3a35" providerId="ADAL" clId="{2BE251B5-2ABF-784F-ABC0-843424808EFA}" dt="2023-07-19T16:04:21.521" v="17" actId="948"/>
        <pc:sldMkLst>
          <pc:docMk/>
          <pc:sldMk cId="1019897426" sldId="793"/>
        </pc:sldMkLst>
        <pc:spChg chg="mod">
          <ac:chgData name="Brian T. Fogelberg" userId="1f6ae3f9-19fc-49dd-9903-364b80dd3a35" providerId="ADAL" clId="{2BE251B5-2ABF-784F-ABC0-843424808EFA}" dt="2023-07-19T16:03:45.232" v="7" actId="20577"/>
          <ac:spMkLst>
            <pc:docMk/>
            <pc:sldMk cId="1019897426" sldId="793"/>
            <ac:spMk id="4" creationId="{F181B19D-8554-ED4C-8221-8D164BD2AE03}"/>
          </ac:spMkLst>
        </pc:spChg>
        <pc:spChg chg="mod">
          <ac:chgData name="Brian T. Fogelberg" userId="1f6ae3f9-19fc-49dd-9903-364b80dd3a35" providerId="ADAL" clId="{2BE251B5-2ABF-784F-ABC0-843424808EFA}" dt="2023-07-19T16:04:21.521" v="17" actId="948"/>
          <ac:spMkLst>
            <pc:docMk/>
            <pc:sldMk cId="1019897426" sldId="793"/>
            <ac:spMk id="5" creationId="{0335E6F8-EF19-6242-8508-519A043B3930}"/>
          </ac:spMkLst>
        </pc:spChg>
      </pc:sldChg>
      <pc:sldChg chg="modSp mod">
        <pc:chgData name="Brian T. Fogelberg" userId="1f6ae3f9-19fc-49dd-9903-364b80dd3a35" providerId="ADAL" clId="{2BE251B5-2ABF-784F-ABC0-843424808EFA}" dt="2023-07-19T16:04:38.756" v="22" actId="20577"/>
        <pc:sldMkLst>
          <pc:docMk/>
          <pc:sldMk cId="4270646571" sldId="797"/>
        </pc:sldMkLst>
        <pc:spChg chg="mod">
          <ac:chgData name="Brian T. Fogelberg" userId="1f6ae3f9-19fc-49dd-9903-364b80dd3a35" providerId="ADAL" clId="{2BE251B5-2ABF-784F-ABC0-843424808EFA}" dt="2023-07-19T16:04:38.756" v="22" actId="20577"/>
          <ac:spMkLst>
            <pc:docMk/>
            <pc:sldMk cId="4270646571" sldId="797"/>
            <ac:spMk id="5" creationId="{7615F437-AACA-9175-406B-64C66D810847}"/>
          </ac:spMkLst>
        </pc:spChg>
      </pc:sldChg>
      <pc:sldChg chg="modSp mod">
        <pc:chgData name="Brian T. Fogelberg" userId="1f6ae3f9-19fc-49dd-9903-364b80dd3a35" providerId="ADAL" clId="{2BE251B5-2ABF-784F-ABC0-843424808EFA}" dt="2023-07-19T16:14:38.845" v="42" actId="1076"/>
        <pc:sldMkLst>
          <pc:docMk/>
          <pc:sldMk cId="3193910333" sldId="801"/>
        </pc:sldMkLst>
        <pc:spChg chg="mod">
          <ac:chgData name="Brian T. Fogelberg" userId="1f6ae3f9-19fc-49dd-9903-364b80dd3a35" providerId="ADAL" clId="{2BE251B5-2ABF-784F-ABC0-843424808EFA}" dt="2023-07-19T16:14:38.845" v="42" actId="1076"/>
          <ac:spMkLst>
            <pc:docMk/>
            <pc:sldMk cId="3193910333" sldId="801"/>
            <ac:spMk id="14" creationId="{A1E4B2CF-DF77-B743-9DB9-1181D7EEA911}"/>
          </ac:spMkLst>
        </pc:spChg>
      </pc:sldChg>
      <pc:sldChg chg="modSp mod">
        <pc:chgData name="Brian T. Fogelberg" userId="1f6ae3f9-19fc-49dd-9903-364b80dd3a35" providerId="ADAL" clId="{2BE251B5-2ABF-784F-ABC0-843424808EFA}" dt="2023-07-19T16:14:53.447" v="47" actId="113"/>
        <pc:sldMkLst>
          <pc:docMk/>
          <pc:sldMk cId="464030586" sldId="804"/>
        </pc:sldMkLst>
        <pc:spChg chg="mod">
          <ac:chgData name="Brian T. Fogelberg" userId="1f6ae3f9-19fc-49dd-9903-364b80dd3a35" providerId="ADAL" clId="{2BE251B5-2ABF-784F-ABC0-843424808EFA}" dt="2023-07-19T16:14:53.447" v="47" actId="113"/>
          <ac:spMkLst>
            <pc:docMk/>
            <pc:sldMk cId="464030586" sldId="804"/>
            <ac:spMk id="5" creationId="{EB47A480-43D0-6FE7-DBC1-83ADF87B0CF0}"/>
          </ac:spMkLst>
        </pc:spChg>
      </pc:sldChg>
      <pc:sldChg chg="modSp mod">
        <pc:chgData name="Brian T. Fogelberg" userId="1f6ae3f9-19fc-49dd-9903-364b80dd3a35" providerId="ADAL" clId="{2BE251B5-2ABF-784F-ABC0-843424808EFA}" dt="2023-07-19T16:11:48.325" v="35" actId="1035"/>
        <pc:sldMkLst>
          <pc:docMk/>
          <pc:sldMk cId="3075817669" sldId="805"/>
        </pc:sldMkLst>
        <pc:spChg chg="mod">
          <ac:chgData name="Brian T. Fogelberg" userId="1f6ae3f9-19fc-49dd-9903-364b80dd3a35" providerId="ADAL" clId="{2BE251B5-2ABF-784F-ABC0-843424808EFA}" dt="2023-07-19T16:08:07.668" v="23" actId="14100"/>
          <ac:spMkLst>
            <pc:docMk/>
            <pc:sldMk cId="3075817669" sldId="805"/>
            <ac:spMk id="13" creationId="{9AFACB6B-8F7A-9A50-B603-C4DB727958A5}"/>
          </ac:spMkLst>
        </pc:spChg>
        <pc:spChg chg="mod">
          <ac:chgData name="Brian T. Fogelberg" userId="1f6ae3f9-19fc-49dd-9903-364b80dd3a35" providerId="ADAL" clId="{2BE251B5-2ABF-784F-ABC0-843424808EFA}" dt="2023-07-19T16:11:48.325" v="35" actId="1035"/>
          <ac:spMkLst>
            <pc:docMk/>
            <pc:sldMk cId="3075817669" sldId="805"/>
            <ac:spMk id="17" creationId="{5550BE1B-AFCC-B7D5-9AA6-23335220E768}"/>
          </ac:spMkLst>
        </pc:spChg>
        <pc:picChg chg="mod">
          <ac:chgData name="Brian T. Fogelberg" userId="1f6ae3f9-19fc-49dd-9903-364b80dd3a35" providerId="ADAL" clId="{2BE251B5-2ABF-784F-ABC0-843424808EFA}" dt="2023-07-19T16:11:41.875" v="24" actId="1076"/>
          <ac:picMkLst>
            <pc:docMk/>
            <pc:sldMk cId="3075817669" sldId="805"/>
            <ac:picMk id="14" creationId="{50D12EBC-6B69-6CDD-13CD-B93740B79817}"/>
          </ac:picMkLst>
        </pc:picChg>
      </pc:sldChg>
      <pc:sldChg chg="delSp mod">
        <pc:chgData name="Brian T. Fogelberg" userId="1f6ae3f9-19fc-49dd-9903-364b80dd3a35" providerId="ADAL" clId="{2BE251B5-2ABF-784F-ABC0-843424808EFA}" dt="2023-07-19T16:12:13.027" v="36" actId="478"/>
        <pc:sldMkLst>
          <pc:docMk/>
          <pc:sldMk cId="3699205717" sldId="823"/>
        </pc:sldMkLst>
        <pc:spChg chg="del">
          <ac:chgData name="Brian T. Fogelberg" userId="1f6ae3f9-19fc-49dd-9903-364b80dd3a35" providerId="ADAL" clId="{2BE251B5-2ABF-784F-ABC0-843424808EFA}" dt="2023-07-19T16:12:13.027" v="36" actId="478"/>
          <ac:spMkLst>
            <pc:docMk/>
            <pc:sldMk cId="3699205717" sldId="823"/>
            <ac:spMk id="26" creationId="{EA71D5DF-E7DC-3741-8D95-947602EF5B8B}"/>
          </ac:spMkLst>
        </pc:spChg>
      </pc:sldChg>
      <pc:sldChg chg="delSp mod">
        <pc:chgData name="Brian T. Fogelberg" userId="1f6ae3f9-19fc-49dd-9903-364b80dd3a35" providerId="ADAL" clId="{2BE251B5-2ABF-784F-ABC0-843424808EFA}" dt="2023-07-19T16:13:58.412" v="41" actId="478"/>
        <pc:sldMkLst>
          <pc:docMk/>
          <pc:sldMk cId="787964137" sldId="827"/>
        </pc:sldMkLst>
        <pc:spChg chg="del">
          <ac:chgData name="Brian T. Fogelberg" userId="1f6ae3f9-19fc-49dd-9903-364b80dd3a35" providerId="ADAL" clId="{2BE251B5-2ABF-784F-ABC0-843424808EFA}" dt="2023-07-19T16:13:58.412" v="41" actId="478"/>
          <ac:spMkLst>
            <pc:docMk/>
            <pc:sldMk cId="787964137" sldId="827"/>
            <ac:spMk id="26" creationId="{EA71D5DF-E7DC-3741-8D95-947602EF5B8B}"/>
          </ac:spMkLst>
        </pc:spChg>
      </pc:sldChg>
      <pc:sldChg chg="modSp mod">
        <pc:chgData name="Brian T. Fogelberg" userId="1f6ae3f9-19fc-49dd-9903-364b80dd3a35" providerId="ADAL" clId="{2BE251B5-2ABF-784F-ABC0-843424808EFA}" dt="2023-07-19T16:13:33.357" v="40" actId="2711"/>
        <pc:sldMkLst>
          <pc:docMk/>
          <pc:sldMk cId="397379151" sldId="829"/>
        </pc:sldMkLst>
        <pc:spChg chg="mod">
          <ac:chgData name="Brian T. Fogelberg" userId="1f6ae3f9-19fc-49dd-9903-364b80dd3a35" providerId="ADAL" clId="{2BE251B5-2ABF-784F-ABC0-843424808EFA}" dt="2023-07-19T16:13:33.357" v="40" actId="2711"/>
          <ac:spMkLst>
            <pc:docMk/>
            <pc:sldMk cId="397379151" sldId="829"/>
            <ac:spMk id="6" creationId="{EA940E73-F53B-77D0-FDC1-FA51DF406EF8}"/>
          </ac:spMkLst>
        </pc:spChg>
      </pc:sldChg>
    </pc:docChg>
  </pc:docChgLst>
  <pc:docChgLst>
    <pc:chgData name="Kamile Walker" userId="S::kamiwalker@churchofjesuschrist.org::a6eb77e7-33bd-4c57-a3cf-538d131ebd75" providerId="AD" clId="Web-{4D268316-2D60-642A-0D97-BE2B2B89E4A5}"/>
    <pc:docChg chg="modSld">
      <pc:chgData name="Kamile Walker" userId="S::kamiwalker@churchofjesuschrist.org::a6eb77e7-33bd-4c57-a3cf-538d131ebd75" providerId="AD" clId="Web-{4D268316-2D60-642A-0D97-BE2B2B89E4A5}" dt="2023-07-26T17:10:45.375" v="1"/>
      <pc:docMkLst>
        <pc:docMk/>
      </pc:docMkLst>
      <pc:sldChg chg="delSp">
        <pc:chgData name="Kamile Walker" userId="S::kamiwalker@churchofjesuschrist.org::a6eb77e7-33bd-4c57-a3cf-538d131ebd75" providerId="AD" clId="Web-{4D268316-2D60-642A-0D97-BE2B2B89E4A5}" dt="2023-07-26T17:10:45.375" v="1"/>
        <pc:sldMkLst>
          <pc:docMk/>
          <pc:sldMk cId="2180367955" sldId="660"/>
        </pc:sldMkLst>
        <pc:spChg chg="del">
          <ac:chgData name="Kamile Walker" userId="S::kamiwalker@churchofjesuschrist.org::a6eb77e7-33bd-4c57-a3cf-538d131ebd75" providerId="AD" clId="Web-{4D268316-2D60-642A-0D97-BE2B2B89E4A5}" dt="2023-07-26T17:10:45.375" v="1"/>
          <ac:spMkLst>
            <pc:docMk/>
            <pc:sldMk cId="2180367955" sldId="660"/>
            <ac:spMk id="5" creationId="{347B6CD6-970A-C946-9E47-CEEC7B914FA8}"/>
          </ac:spMkLst>
        </pc:spChg>
      </pc:sldChg>
      <pc:sldChg chg="delSp">
        <pc:chgData name="Kamile Walker" userId="S::kamiwalker@churchofjesuschrist.org::a6eb77e7-33bd-4c57-a3cf-538d131ebd75" providerId="AD" clId="Web-{4D268316-2D60-642A-0D97-BE2B2B89E4A5}" dt="2023-07-26T17:10:34.952" v="0"/>
        <pc:sldMkLst>
          <pc:docMk/>
          <pc:sldMk cId="2768504817" sldId="831"/>
        </pc:sldMkLst>
        <pc:spChg chg="del">
          <ac:chgData name="Kamile Walker" userId="S::kamiwalker@churchofjesuschrist.org::a6eb77e7-33bd-4c57-a3cf-538d131ebd75" providerId="AD" clId="Web-{4D268316-2D60-642A-0D97-BE2B2B89E4A5}" dt="2023-07-26T17:10:34.952" v="0"/>
          <ac:spMkLst>
            <pc:docMk/>
            <pc:sldMk cId="2768504817" sldId="831"/>
            <ac:spMk id="26" creationId="{EA71D5DF-E7DC-3741-8D95-947602EF5B8B}"/>
          </ac:spMkLst>
        </pc:spChg>
      </pc:sldChg>
    </pc:docChg>
  </pc:docChgLst>
  <pc:docChgLst>
    <pc:chgData name="Kamile Walker" userId="a6eb77e7-33bd-4c57-a3cf-538d131ebd75" providerId="ADAL" clId="{D51699E9-F044-4074-8F99-C8D062658105}"/>
    <pc:docChg chg="custSel modSld">
      <pc:chgData name="Kamile Walker" userId="a6eb77e7-33bd-4c57-a3cf-538d131ebd75" providerId="ADAL" clId="{D51699E9-F044-4074-8F99-C8D062658105}" dt="2023-07-17T20:03:47.595" v="2" actId="27636"/>
      <pc:docMkLst>
        <pc:docMk/>
      </pc:docMkLst>
      <pc:sldChg chg="modSp mod">
        <pc:chgData name="Kamile Walker" userId="a6eb77e7-33bd-4c57-a3cf-538d131ebd75" providerId="ADAL" clId="{D51699E9-F044-4074-8F99-C8D062658105}" dt="2023-07-17T20:03:47.584" v="0" actId="27636"/>
        <pc:sldMkLst>
          <pc:docMk/>
          <pc:sldMk cId="2524528356" sldId="274"/>
        </pc:sldMkLst>
        <pc:spChg chg="mod">
          <ac:chgData name="Kamile Walker" userId="a6eb77e7-33bd-4c57-a3cf-538d131ebd75" providerId="ADAL" clId="{D51699E9-F044-4074-8F99-C8D062658105}" dt="2023-07-17T20:03:47.584" v="0" actId="27636"/>
          <ac:spMkLst>
            <pc:docMk/>
            <pc:sldMk cId="2524528356" sldId="274"/>
            <ac:spMk id="14" creationId="{3D19938C-6335-2249-A13D-06A60FE39D74}"/>
          </ac:spMkLst>
        </pc:spChg>
      </pc:sldChg>
      <pc:sldChg chg="modSp mod">
        <pc:chgData name="Kamile Walker" userId="a6eb77e7-33bd-4c57-a3cf-538d131ebd75" providerId="ADAL" clId="{D51699E9-F044-4074-8F99-C8D062658105}" dt="2023-07-17T20:03:47.595" v="2" actId="27636"/>
        <pc:sldMkLst>
          <pc:docMk/>
          <pc:sldMk cId="2661863841" sldId="659"/>
        </pc:sldMkLst>
        <pc:spChg chg="mod">
          <ac:chgData name="Kamile Walker" userId="a6eb77e7-33bd-4c57-a3cf-538d131ebd75" providerId="ADAL" clId="{D51699E9-F044-4074-8F99-C8D062658105}" dt="2023-07-17T20:03:47.595" v="2" actId="27636"/>
          <ac:spMkLst>
            <pc:docMk/>
            <pc:sldMk cId="2661863841" sldId="659"/>
            <ac:spMk id="4" creationId="{B584CEB7-306D-9D4B-8A46-9E23D7A9C839}"/>
          </ac:spMkLst>
        </pc:spChg>
      </pc:sldChg>
      <pc:sldChg chg="modSp mod">
        <pc:chgData name="Kamile Walker" userId="a6eb77e7-33bd-4c57-a3cf-538d131ebd75" providerId="ADAL" clId="{D51699E9-F044-4074-8F99-C8D062658105}" dt="2023-07-17T20:03:47.591" v="1" actId="27636"/>
        <pc:sldMkLst>
          <pc:docMk/>
          <pc:sldMk cId="1564383633" sldId="709"/>
        </pc:sldMkLst>
        <pc:spChg chg="mod">
          <ac:chgData name="Kamile Walker" userId="a6eb77e7-33bd-4c57-a3cf-538d131ebd75" providerId="ADAL" clId="{D51699E9-F044-4074-8F99-C8D062658105}" dt="2023-07-17T20:03:47.591" v="1" actId="27636"/>
          <ac:spMkLst>
            <pc:docMk/>
            <pc:sldMk cId="1564383633" sldId="709"/>
            <ac:spMk id="7" creationId="{298BE645-7BD3-584B-967F-C6BFDCFFF150}"/>
          </ac:spMkLst>
        </pc:spChg>
      </pc:sldChg>
    </pc:docChg>
  </pc:docChgLst>
  <pc:docChgLst>
    <pc:chgData name="Yessica María Cardona Dávila" userId="S::yessidavila@churchofjesuschrist.org::dbd894c0-d27b-4e62-88e8-cfec87c20a86" providerId="AD" clId="Web-{4D2EF7CB-1BBA-6E20-8757-B924F3BB020E}"/>
    <pc:docChg chg="modSld sldOrd">
      <pc:chgData name="Yessica María Cardona Dávila" userId="S::yessidavila@churchofjesuschrist.org::dbd894c0-d27b-4e62-88e8-cfec87c20a86" providerId="AD" clId="Web-{4D2EF7CB-1BBA-6E20-8757-B924F3BB020E}" dt="2023-07-19T19:45:20.676" v="28" actId="20577"/>
      <pc:docMkLst>
        <pc:docMk/>
      </pc:docMkLst>
      <pc:sldChg chg="modSp">
        <pc:chgData name="Yessica María Cardona Dávila" userId="S::yessidavila@churchofjesuschrist.org::dbd894c0-d27b-4e62-88e8-cfec87c20a86" providerId="AD" clId="Web-{4D2EF7CB-1BBA-6E20-8757-B924F3BB020E}" dt="2023-07-19T19:45:20.676" v="28" actId="20577"/>
        <pc:sldMkLst>
          <pc:docMk/>
          <pc:sldMk cId="29013491" sldId="769"/>
        </pc:sldMkLst>
        <pc:spChg chg="mod">
          <ac:chgData name="Yessica María Cardona Dávila" userId="S::yessidavila@churchofjesuschrist.org::dbd894c0-d27b-4e62-88e8-cfec87c20a86" providerId="AD" clId="Web-{4D2EF7CB-1BBA-6E20-8757-B924F3BB020E}" dt="2023-07-19T19:44:58.816" v="26" actId="20577"/>
          <ac:spMkLst>
            <pc:docMk/>
            <pc:sldMk cId="29013491" sldId="769"/>
            <ac:spMk id="5" creationId="{CD13F077-4AC6-394F-B59D-28A4A9055A36}"/>
          </ac:spMkLst>
        </pc:spChg>
        <pc:spChg chg="mod">
          <ac:chgData name="Yessica María Cardona Dávila" userId="S::yessidavila@churchofjesuschrist.org::dbd894c0-d27b-4e62-88e8-cfec87c20a86" providerId="AD" clId="Web-{4D2EF7CB-1BBA-6E20-8757-B924F3BB020E}" dt="2023-07-19T19:45:20.676" v="28" actId="20577"/>
          <ac:spMkLst>
            <pc:docMk/>
            <pc:sldMk cId="29013491" sldId="769"/>
            <ac:spMk id="10" creationId="{1C0FA216-8D3D-3047-8BAE-DA379674949C}"/>
          </ac:spMkLst>
        </pc:spChg>
      </pc:sldChg>
      <pc:sldChg chg="modSp">
        <pc:chgData name="Yessica María Cardona Dávila" userId="S::yessidavila@churchofjesuschrist.org::dbd894c0-d27b-4e62-88e8-cfec87c20a86" providerId="AD" clId="Web-{4D2EF7CB-1BBA-6E20-8757-B924F3BB020E}" dt="2023-07-19T19:41:05.970" v="20" actId="20577"/>
        <pc:sldMkLst>
          <pc:docMk/>
          <pc:sldMk cId="1507861903" sldId="810"/>
        </pc:sldMkLst>
        <pc:spChg chg="mod">
          <ac:chgData name="Yessica María Cardona Dávila" userId="S::yessidavila@churchofjesuschrist.org::dbd894c0-d27b-4e62-88e8-cfec87c20a86" providerId="AD" clId="Web-{4D2EF7CB-1BBA-6E20-8757-B924F3BB020E}" dt="2023-07-19T19:41:05.970" v="20" actId="20577"/>
          <ac:spMkLst>
            <pc:docMk/>
            <pc:sldMk cId="1507861903" sldId="810"/>
            <ac:spMk id="16" creationId="{A4C92C61-E294-ECD3-90F3-9A44ECE5A61A}"/>
          </ac:spMkLst>
        </pc:spChg>
      </pc:sldChg>
      <pc:sldChg chg="ord">
        <pc:chgData name="Yessica María Cardona Dávila" userId="S::yessidavila@churchofjesuschrist.org::dbd894c0-d27b-4e62-88e8-cfec87c20a86" providerId="AD" clId="Web-{4D2EF7CB-1BBA-6E20-8757-B924F3BB020E}" dt="2023-07-19T19:41:17.079" v="21"/>
        <pc:sldMkLst>
          <pc:docMk/>
          <pc:sldMk cId="3699205717" sldId="823"/>
        </pc:sldMkLst>
      </pc:sldChg>
      <pc:sldChg chg="modSp">
        <pc:chgData name="Yessica María Cardona Dávila" userId="S::yessidavila@churchofjesuschrist.org::dbd894c0-d27b-4e62-88e8-cfec87c20a86" providerId="AD" clId="Web-{4D2EF7CB-1BBA-6E20-8757-B924F3BB020E}" dt="2023-07-19T19:41:36.548" v="22" actId="14100"/>
        <pc:sldMkLst>
          <pc:docMk/>
          <pc:sldMk cId="1913996765" sldId="828"/>
        </pc:sldMkLst>
        <pc:spChg chg="mod">
          <ac:chgData name="Yessica María Cardona Dávila" userId="S::yessidavila@churchofjesuschrist.org::dbd894c0-d27b-4e62-88e8-cfec87c20a86" providerId="AD" clId="Web-{4D2EF7CB-1BBA-6E20-8757-B924F3BB020E}" dt="2023-07-19T19:41:36.548" v="22" actId="14100"/>
          <ac:spMkLst>
            <pc:docMk/>
            <pc:sldMk cId="1913996765" sldId="828"/>
            <ac:spMk id="3" creationId="{6A57A1E5-BB56-3949-BF3A-C64C36CAB647}"/>
          </ac:spMkLst>
        </pc:spChg>
      </pc:sldChg>
    </pc:docChg>
  </pc:docChgLst>
  <pc:docChgLst>
    <pc:chgData name="Yessica María Cardona Dávila" userId="S::yessidavila@churchofjesuschrist.org::dbd894c0-d27b-4e62-88e8-cfec87c20a86" providerId="AD" clId="Web-{4F18CACC-194E-F847-2AFE-2D34803A04E4}"/>
    <pc:docChg chg="modSld sldOrd modSection">
      <pc:chgData name="Yessica María Cardona Dávila" userId="S::yessidavila@churchofjesuschrist.org::dbd894c0-d27b-4e62-88e8-cfec87c20a86" providerId="AD" clId="Web-{4F18CACC-194E-F847-2AFE-2D34803A04E4}" dt="2023-07-19T19:15:04.626" v="78" actId="20577"/>
      <pc:docMkLst>
        <pc:docMk/>
      </pc:docMkLst>
      <pc:sldChg chg="modSp">
        <pc:chgData name="Yessica María Cardona Dávila" userId="S::yessidavila@churchofjesuschrist.org::dbd894c0-d27b-4e62-88e8-cfec87c20a86" providerId="AD" clId="Web-{4F18CACC-194E-F847-2AFE-2D34803A04E4}" dt="2023-07-19T19:11:53.886" v="68" actId="20577"/>
        <pc:sldMkLst>
          <pc:docMk/>
          <pc:sldMk cId="2524528356" sldId="274"/>
        </pc:sldMkLst>
        <pc:spChg chg="mod">
          <ac:chgData name="Yessica María Cardona Dávila" userId="S::yessidavila@churchofjesuschrist.org::dbd894c0-d27b-4e62-88e8-cfec87c20a86" providerId="AD" clId="Web-{4F18CACC-194E-F847-2AFE-2D34803A04E4}" dt="2023-07-19T19:11:53.886" v="68" actId="20577"/>
          <ac:spMkLst>
            <pc:docMk/>
            <pc:sldMk cId="2524528356" sldId="274"/>
            <ac:spMk id="3" creationId="{CFBE50DD-0699-3A41-8108-252B9BA13CE9}"/>
          </ac:spMkLst>
        </pc:spChg>
      </pc:sldChg>
      <pc:sldChg chg="modSp">
        <pc:chgData name="Yessica María Cardona Dávila" userId="S::yessidavila@churchofjesuschrist.org::dbd894c0-d27b-4e62-88e8-cfec87c20a86" providerId="AD" clId="Web-{4F18CACC-194E-F847-2AFE-2D34803A04E4}" dt="2023-07-19T19:15:04.626" v="78" actId="20577"/>
        <pc:sldMkLst>
          <pc:docMk/>
          <pc:sldMk cId="29013491" sldId="769"/>
        </pc:sldMkLst>
        <pc:spChg chg="mod">
          <ac:chgData name="Yessica María Cardona Dávila" userId="S::yessidavila@churchofjesuschrist.org::dbd894c0-d27b-4e62-88e8-cfec87c20a86" providerId="AD" clId="Web-{4F18CACC-194E-F847-2AFE-2D34803A04E4}" dt="2023-07-19T19:14:27.875" v="72" actId="20577"/>
          <ac:spMkLst>
            <pc:docMk/>
            <pc:sldMk cId="29013491" sldId="769"/>
            <ac:spMk id="3" creationId="{D8403070-DEEB-8143-B9ED-F146907EEFC3}"/>
          </ac:spMkLst>
        </pc:spChg>
        <pc:spChg chg="mod">
          <ac:chgData name="Yessica María Cardona Dávila" userId="S::yessidavila@churchofjesuschrist.org::dbd894c0-d27b-4e62-88e8-cfec87c20a86" providerId="AD" clId="Web-{4F18CACC-194E-F847-2AFE-2D34803A04E4}" dt="2023-07-19T19:15:01.735" v="77" actId="20577"/>
          <ac:spMkLst>
            <pc:docMk/>
            <pc:sldMk cId="29013491" sldId="769"/>
            <ac:spMk id="5" creationId="{CD13F077-4AC6-394F-B59D-28A4A9055A36}"/>
          </ac:spMkLst>
        </pc:spChg>
        <pc:spChg chg="mod">
          <ac:chgData name="Yessica María Cardona Dávila" userId="S::yessidavila@churchofjesuschrist.org::dbd894c0-d27b-4e62-88e8-cfec87c20a86" providerId="AD" clId="Web-{4F18CACC-194E-F847-2AFE-2D34803A04E4}" dt="2023-07-19T19:15:04.626" v="78" actId="20577"/>
          <ac:spMkLst>
            <pc:docMk/>
            <pc:sldMk cId="29013491" sldId="769"/>
            <ac:spMk id="10" creationId="{1C0FA216-8D3D-3047-8BAE-DA379674949C}"/>
          </ac:spMkLst>
        </pc:spChg>
      </pc:sldChg>
      <pc:sldChg chg="modSp">
        <pc:chgData name="Yessica María Cardona Dávila" userId="S::yessidavila@churchofjesuschrist.org::dbd894c0-d27b-4e62-88e8-cfec87c20a86" providerId="AD" clId="Web-{4F18CACC-194E-F847-2AFE-2D34803A04E4}" dt="2023-07-19T18:43:46.685" v="32" actId="20577"/>
        <pc:sldMkLst>
          <pc:docMk/>
          <pc:sldMk cId="1444667122" sldId="782"/>
        </pc:sldMkLst>
        <pc:spChg chg="mod">
          <ac:chgData name="Yessica María Cardona Dávila" userId="S::yessidavila@churchofjesuschrist.org::dbd894c0-d27b-4e62-88e8-cfec87c20a86" providerId="AD" clId="Web-{4F18CACC-194E-F847-2AFE-2D34803A04E4}" dt="2023-07-19T18:43:46.685" v="32" actId="20577"/>
          <ac:spMkLst>
            <pc:docMk/>
            <pc:sldMk cId="1444667122" sldId="782"/>
            <ac:spMk id="20" creationId="{16521770-80B6-B447-80F3-E433B45DFE28}"/>
          </ac:spMkLst>
        </pc:spChg>
      </pc:sldChg>
      <pc:sldChg chg="modSp">
        <pc:chgData name="Yessica María Cardona Dávila" userId="S::yessidavila@churchofjesuschrist.org::dbd894c0-d27b-4e62-88e8-cfec87c20a86" providerId="AD" clId="Web-{4F18CACC-194E-F847-2AFE-2D34803A04E4}" dt="2023-07-19T18:44:30.514" v="37" actId="20577"/>
        <pc:sldMkLst>
          <pc:docMk/>
          <pc:sldMk cId="665768293" sldId="790"/>
        </pc:sldMkLst>
        <pc:spChg chg="mod">
          <ac:chgData name="Yessica María Cardona Dávila" userId="S::yessidavila@churchofjesuschrist.org::dbd894c0-d27b-4e62-88e8-cfec87c20a86" providerId="AD" clId="Web-{4F18CACC-194E-F847-2AFE-2D34803A04E4}" dt="2023-07-19T18:38:01.660" v="7" actId="20577"/>
          <ac:spMkLst>
            <pc:docMk/>
            <pc:sldMk cId="665768293" sldId="790"/>
            <ac:spMk id="3" creationId="{2198D0CB-A244-3645-93EF-5E47B40A5F95}"/>
          </ac:spMkLst>
        </pc:spChg>
        <pc:spChg chg="mod">
          <ac:chgData name="Yessica María Cardona Dávila" userId="S::yessidavila@churchofjesuschrist.org::dbd894c0-d27b-4e62-88e8-cfec87c20a86" providerId="AD" clId="Web-{4F18CACC-194E-F847-2AFE-2D34803A04E4}" dt="2023-07-19T18:44:30.514" v="37" actId="20577"/>
          <ac:spMkLst>
            <pc:docMk/>
            <pc:sldMk cId="665768293" sldId="790"/>
            <ac:spMk id="6" creationId="{BD44D150-ABF4-D14A-BE79-37F452EC4044}"/>
          </ac:spMkLst>
        </pc:spChg>
      </pc:sldChg>
      <pc:sldChg chg="modSp">
        <pc:chgData name="Yessica María Cardona Dávila" userId="S::yessidavila@churchofjesuschrist.org::dbd894c0-d27b-4e62-88e8-cfec87c20a86" providerId="AD" clId="Web-{4F18CACC-194E-F847-2AFE-2D34803A04E4}" dt="2023-07-19T18:50:03.304" v="51" actId="20577"/>
        <pc:sldMkLst>
          <pc:docMk/>
          <pc:sldMk cId="1019897426" sldId="793"/>
        </pc:sldMkLst>
        <pc:spChg chg="mod">
          <ac:chgData name="Yessica María Cardona Dávila" userId="S::yessidavila@churchofjesuschrist.org::dbd894c0-d27b-4e62-88e8-cfec87c20a86" providerId="AD" clId="Web-{4F18CACC-194E-F847-2AFE-2D34803A04E4}" dt="2023-07-19T18:50:03.304" v="51" actId="20577"/>
          <ac:spMkLst>
            <pc:docMk/>
            <pc:sldMk cId="1019897426" sldId="793"/>
            <ac:spMk id="4" creationId="{F181B19D-8554-ED4C-8221-8D164BD2AE03}"/>
          </ac:spMkLst>
        </pc:spChg>
      </pc:sldChg>
      <pc:sldChg chg="modSp">
        <pc:chgData name="Yessica María Cardona Dávila" userId="S::yessidavila@churchofjesuschrist.org::dbd894c0-d27b-4e62-88e8-cfec87c20a86" providerId="AD" clId="Web-{4F18CACC-194E-F847-2AFE-2D34803A04E4}" dt="2023-07-19T18:50:54.290" v="54" actId="14100"/>
        <pc:sldMkLst>
          <pc:docMk/>
          <pc:sldMk cId="4270646571" sldId="797"/>
        </pc:sldMkLst>
        <pc:spChg chg="mod">
          <ac:chgData name="Yessica María Cardona Dávila" userId="S::yessidavila@churchofjesuschrist.org::dbd894c0-d27b-4e62-88e8-cfec87c20a86" providerId="AD" clId="Web-{4F18CACC-194E-F847-2AFE-2D34803A04E4}" dt="2023-07-19T18:50:54.290" v="54" actId="14100"/>
          <ac:spMkLst>
            <pc:docMk/>
            <pc:sldMk cId="4270646571" sldId="797"/>
            <ac:spMk id="5" creationId="{7615F437-AACA-9175-406B-64C66D810847}"/>
          </ac:spMkLst>
        </pc:spChg>
      </pc:sldChg>
      <pc:sldChg chg="ord">
        <pc:chgData name="Yessica María Cardona Dávila" userId="S::yessidavila@churchofjesuschrist.org::dbd894c0-d27b-4e62-88e8-cfec87c20a86" providerId="AD" clId="Web-{4F18CACC-194E-F847-2AFE-2D34803A04E4}" dt="2023-07-19T19:11:32.167" v="65"/>
        <pc:sldMkLst>
          <pc:docMk/>
          <pc:sldMk cId="464030586" sldId="804"/>
        </pc:sldMkLst>
      </pc:sldChg>
      <pc:sldChg chg="modSp">
        <pc:chgData name="Yessica María Cardona Dávila" userId="S::yessidavila@churchofjesuschrist.org::dbd894c0-d27b-4e62-88e8-cfec87c20a86" providerId="AD" clId="Web-{4F18CACC-194E-F847-2AFE-2D34803A04E4}" dt="2023-07-19T19:07:10.847" v="64" actId="20577"/>
        <pc:sldMkLst>
          <pc:docMk/>
          <pc:sldMk cId="3056659758" sldId="817"/>
        </pc:sldMkLst>
        <pc:spChg chg="mod">
          <ac:chgData name="Yessica María Cardona Dávila" userId="S::yessidavila@churchofjesuschrist.org::dbd894c0-d27b-4e62-88e8-cfec87c20a86" providerId="AD" clId="Web-{4F18CACC-194E-F847-2AFE-2D34803A04E4}" dt="2023-07-19T19:07:10.847" v="64" actId="20577"/>
          <ac:spMkLst>
            <pc:docMk/>
            <pc:sldMk cId="3056659758" sldId="817"/>
            <ac:spMk id="8" creationId="{5864B0E4-E93F-F74B-7825-C74E2D53DD66}"/>
          </ac:spMkLst>
        </pc:spChg>
      </pc:sldChg>
      <pc:sldChg chg="modSp">
        <pc:chgData name="Yessica María Cardona Dávila" userId="S::yessidavila@churchofjesuschrist.org::dbd894c0-d27b-4e62-88e8-cfec87c20a86" providerId="AD" clId="Web-{4F18CACC-194E-F847-2AFE-2D34803A04E4}" dt="2023-07-19T18:59:36.132" v="60" actId="1076"/>
        <pc:sldMkLst>
          <pc:docMk/>
          <pc:sldMk cId="1753766256" sldId="821"/>
        </pc:sldMkLst>
        <pc:spChg chg="mod">
          <ac:chgData name="Yessica María Cardona Dávila" userId="S::yessidavila@churchofjesuschrist.org::dbd894c0-d27b-4e62-88e8-cfec87c20a86" providerId="AD" clId="Web-{4F18CACC-194E-F847-2AFE-2D34803A04E4}" dt="2023-07-19T18:59:36.132" v="60" actId="1076"/>
          <ac:spMkLst>
            <pc:docMk/>
            <pc:sldMk cId="1753766256" sldId="821"/>
            <ac:spMk id="9" creationId="{4AD386F1-F22E-CF4B-4EF8-839D5722921A}"/>
          </ac:spMkLst>
        </pc:spChg>
      </pc:sldChg>
      <pc:sldChg chg="ord">
        <pc:chgData name="Yessica María Cardona Dávila" userId="S::yessidavila@churchofjesuschrist.org::dbd894c0-d27b-4e62-88e8-cfec87c20a86" providerId="AD" clId="Web-{4F18CACC-194E-F847-2AFE-2D34803A04E4}" dt="2023-07-19T19:02:55.262" v="61"/>
        <pc:sldMkLst>
          <pc:docMk/>
          <pc:sldMk cId="3388375151" sldId="826"/>
        </pc:sldMkLst>
      </pc:sldChg>
    </pc:docChg>
  </pc:docChgLst>
  <pc:docChgLst>
    <pc:chgData name="Brian T. Fogelberg" userId="S::btfogelberg@churchofjesuschrist.org::1f6ae3f9-19fc-49dd-9903-364b80dd3a35" providerId="AD" clId="Web-{BD856A95-5152-E1AE-0A27-5C0FA53BE490}"/>
    <pc:docChg chg="modSld">
      <pc:chgData name="Brian T. Fogelberg" userId="S::btfogelberg@churchofjesuschrist.org::1f6ae3f9-19fc-49dd-9903-364b80dd3a35" providerId="AD" clId="Web-{BD856A95-5152-E1AE-0A27-5C0FA53BE490}" dt="2023-07-19T15:59:22.121" v="13" actId="14100"/>
      <pc:docMkLst>
        <pc:docMk/>
      </pc:docMkLst>
      <pc:sldChg chg="modSp">
        <pc:chgData name="Brian T. Fogelberg" userId="S::btfogelberg@churchofjesuschrist.org::1f6ae3f9-19fc-49dd-9903-364b80dd3a35" providerId="AD" clId="Web-{BD856A95-5152-E1AE-0A27-5C0FA53BE490}" dt="2023-07-19T15:58:54.668" v="7" actId="1076"/>
        <pc:sldMkLst>
          <pc:docMk/>
          <pc:sldMk cId="1444667122" sldId="782"/>
        </pc:sldMkLst>
        <pc:spChg chg="mod">
          <ac:chgData name="Brian T. Fogelberg" userId="S::btfogelberg@churchofjesuschrist.org::1f6ae3f9-19fc-49dd-9903-364b80dd3a35" providerId="AD" clId="Web-{BD856A95-5152-E1AE-0A27-5C0FA53BE490}" dt="2023-07-19T15:58:54.668" v="7" actId="1076"/>
          <ac:spMkLst>
            <pc:docMk/>
            <pc:sldMk cId="1444667122" sldId="782"/>
            <ac:spMk id="27" creationId="{061D94E2-836E-EE4F-AC2E-903DE5C55B97}"/>
          </ac:spMkLst>
        </pc:spChg>
        <pc:spChg chg="mod">
          <ac:chgData name="Brian T. Fogelberg" userId="S::btfogelberg@churchofjesuschrist.org::1f6ae3f9-19fc-49dd-9903-364b80dd3a35" providerId="AD" clId="Web-{BD856A95-5152-E1AE-0A27-5C0FA53BE490}" dt="2023-07-19T15:58:47.511" v="5" actId="1076"/>
          <ac:spMkLst>
            <pc:docMk/>
            <pc:sldMk cId="1444667122" sldId="782"/>
            <ac:spMk id="29" creationId="{CED74288-F993-2A4C-A717-1C6A7F535098}"/>
          </ac:spMkLst>
        </pc:spChg>
      </pc:sldChg>
      <pc:sldChg chg="modSp">
        <pc:chgData name="Brian T. Fogelberg" userId="S::btfogelberg@churchofjesuschrist.org::1f6ae3f9-19fc-49dd-9903-364b80dd3a35" providerId="AD" clId="Web-{BD856A95-5152-E1AE-0A27-5C0FA53BE490}" dt="2023-07-19T15:59:14.418" v="12" actId="14100"/>
        <pc:sldMkLst>
          <pc:docMk/>
          <pc:sldMk cId="665768293" sldId="790"/>
        </pc:sldMkLst>
        <pc:spChg chg="mod">
          <ac:chgData name="Brian T. Fogelberg" userId="S::btfogelberg@churchofjesuschrist.org::1f6ae3f9-19fc-49dd-9903-364b80dd3a35" providerId="AD" clId="Web-{BD856A95-5152-E1AE-0A27-5C0FA53BE490}" dt="2023-07-19T15:59:09.527" v="11" actId="20577"/>
          <ac:spMkLst>
            <pc:docMk/>
            <pc:sldMk cId="665768293" sldId="790"/>
            <ac:spMk id="3" creationId="{2198D0CB-A244-3645-93EF-5E47B40A5F95}"/>
          </ac:spMkLst>
        </pc:spChg>
        <pc:spChg chg="mod">
          <ac:chgData name="Brian T. Fogelberg" userId="S::btfogelberg@churchofjesuschrist.org::1f6ae3f9-19fc-49dd-9903-364b80dd3a35" providerId="AD" clId="Web-{BD856A95-5152-E1AE-0A27-5C0FA53BE490}" dt="2023-07-19T15:59:14.418" v="12" actId="14100"/>
          <ac:spMkLst>
            <pc:docMk/>
            <pc:sldMk cId="665768293" sldId="790"/>
            <ac:spMk id="6" creationId="{BD44D150-ABF4-D14A-BE79-37F452EC4044}"/>
          </ac:spMkLst>
        </pc:spChg>
      </pc:sldChg>
      <pc:sldChg chg="modSp">
        <pc:chgData name="Brian T. Fogelberg" userId="S::btfogelberg@churchofjesuschrist.org::1f6ae3f9-19fc-49dd-9903-364b80dd3a35" providerId="AD" clId="Web-{BD856A95-5152-E1AE-0A27-5C0FA53BE490}" dt="2023-07-19T15:59:22.121" v="13" actId="14100"/>
        <pc:sldMkLst>
          <pc:docMk/>
          <pc:sldMk cId="1019897426" sldId="793"/>
        </pc:sldMkLst>
        <pc:spChg chg="mod">
          <ac:chgData name="Brian T. Fogelberg" userId="S::btfogelberg@churchofjesuschrist.org::1f6ae3f9-19fc-49dd-9903-364b80dd3a35" providerId="AD" clId="Web-{BD856A95-5152-E1AE-0A27-5C0FA53BE490}" dt="2023-07-19T15:59:22.121" v="13" actId="14100"/>
          <ac:spMkLst>
            <pc:docMk/>
            <pc:sldMk cId="1019897426" sldId="793"/>
            <ac:spMk id="5" creationId="{0335E6F8-EF19-6242-8508-519A043B3930}"/>
          </ac:spMkLst>
        </pc:spChg>
      </pc:sldChg>
    </pc:docChg>
  </pc:docChgLst>
  <pc:docChgLst>
    <pc:chgData name="Kamile Walker" userId="S::kamiwalker@churchofjesuschrist.org::a6eb77e7-33bd-4c57-a3cf-538d131ebd75" providerId="AD" clId="Web-{5225B722-B84E-6065-F2A0-60DAAD75896E}"/>
    <pc:docChg chg="modSld">
      <pc:chgData name="Kamile Walker" userId="S::kamiwalker@churchofjesuschrist.org::a6eb77e7-33bd-4c57-a3cf-538d131ebd75" providerId="AD" clId="Web-{5225B722-B84E-6065-F2A0-60DAAD75896E}" dt="2023-07-17T16:35:31.145" v="46" actId="14100"/>
      <pc:docMkLst>
        <pc:docMk/>
      </pc:docMkLst>
      <pc:sldChg chg="modSp">
        <pc:chgData name="Kamile Walker" userId="S::kamiwalker@churchofjesuschrist.org::a6eb77e7-33bd-4c57-a3cf-538d131ebd75" providerId="AD" clId="Web-{5225B722-B84E-6065-F2A0-60DAAD75896E}" dt="2023-07-17T16:35:24.129" v="45" actId="14100"/>
        <pc:sldMkLst>
          <pc:docMk/>
          <pc:sldMk cId="2661863841" sldId="659"/>
        </pc:sldMkLst>
        <pc:spChg chg="mod">
          <ac:chgData name="Kamile Walker" userId="S::kamiwalker@churchofjesuschrist.org::a6eb77e7-33bd-4c57-a3cf-538d131ebd75" providerId="AD" clId="Web-{5225B722-B84E-6065-F2A0-60DAAD75896E}" dt="2023-07-17T16:35:24.129" v="45" actId="14100"/>
          <ac:spMkLst>
            <pc:docMk/>
            <pc:sldMk cId="2661863841" sldId="659"/>
            <ac:spMk id="7" creationId="{19BA7E76-E466-9240-A419-49D1B14B079B}"/>
          </ac:spMkLst>
        </pc:spChg>
      </pc:sldChg>
      <pc:sldChg chg="modSp">
        <pc:chgData name="Kamile Walker" userId="S::kamiwalker@churchofjesuschrist.org::a6eb77e7-33bd-4c57-a3cf-538d131ebd75" providerId="AD" clId="Web-{5225B722-B84E-6065-F2A0-60DAAD75896E}" dt="2023-07-17T16:35:31.145" v="46" actId="14100"/>
        <pc:sldMkLst>
          <pc:docMk/>
          <pc:sldMk cId="2180367955" sldId="660"/>
        </pc:sldMkLst>
        <pc:spChg chg="mod">
          <ac:chgData name="Kamile Walker" userId="S::kamiwalker@churchofjesuschrist.org::a6eb77e7-33bd-4c57-a3cf-538d131ebd75" providerId="AD" clId="Web-{5225B722-B84E-6065-F2A0-60DAAD75896E}" dt="2023-07-17T16:35:31.145" v="46" actId="14100"/>
          <ac:spMkLst>
            <pc:docMk/>
            <pc:sldMk cId="2180367955" sldId="660"/>
            <ac:spMk id="8" creationId="{024E6555-4F67-0341-8758-449993CE3712}"/>
          </ac:spMkLst>
        </pc:spChg>
      </pc:sldChg>
      <pc:sldChg chg="addSp delSp modSp">
        <pc:chgData name="Kamile Walker" userId="S::kamiwalker@churchofjesuschrist.org::a6eb77e7-33bd-4c57-a3cf-538d131ebd75" providerId="AD" clId="Web-{5225B722-B84E-6065-F2A0-60DAAD75896E}" dt="2023-07-17T14:55:58.406" v="26" actId="14100"/>
        <pc:sldMkLst>
          <pc:docMk/>
          <pc:sldMk cId="1019897426" sldId="793"/>
        </pc:sldMkLst>
        <pc:spChg chg="mod">
          <ac:chgData name="Kamile Walker" userId="S::kamiwalker@churchofjesuschrist.org::a6eb77e7-33bd-4c57-a3cf-538d131ebd75" providerId="AD" clId="Web-{5225B722-B84E-6065-F2A0-60DAAD75896E}" dt="2023-07-17T14:55:47.641" v="25" actId="20577"/>
          <ac:spMkLst>
            <pc:docMk/>
            <pc:sldMk cId="1019897426" sldId="793"/>
            <ac:spMk id="2" creationId="{7A1C276B-2A33-C049-AEF8-5AF88AD11664}"/>
          </ac:spMkLst>
        </pc:spChg>
        <pc:spChg chg="mod">
          <ac:chgData name="Kamile Walker" userId="S::kamiwalker@churchofjesuschrist.org::a6eb77e7-33bd-4c57-a3cf-538d131ebd75" providerId="AD" clId="Web-{5225B722-B84E-6065-F2A0-60DAAD75896E}" dt="2023-07-17T14:55:58.406" v="26" actId="14100"/>
          <ac:spMkLst>
            <pc:docMk/>
            <pc:sldMk cId="1019897426" sldId="793"/>
            <ac:spMk id="4" creationId="{F181B19D-8554-ED4C-8221-8D164BD2AE03}"/>
          </ac:spMkLst>
        </pc:spChg>
        <pc:picChg chg="add mod">
          <ac:chgData name="Kamile Walker" userId="S::kamiwalker@churchofjesuschrist.org::a6eb77e7-33bd-4c57-a3cf-538d131ebd75" providerId="AD" clId="Web-{5225B722-B84E-6065-F2A0-60DAAD75896E}" dt="2023-07-17T14:55:28.654" v="23" actId="1076"/>
          <ac:picMkLst>
            <pc:docMk/>
            <pc:sldMk cId="1019897426" sldId="793"/>
            <ac:picMk id="6" creationId="{FA1A0FAE-255B-9210-2FE0-23063248112D}"/>
          </ac:picMkLst>
        </pc:picChg>
        <pc:picChg chg="del">
          <ac:chgData name="Kamile Walker" userId="S::kamiwalker@churchofjesuschrist.org::a6eb77e7-33bd-4c57-a3cf-538d131ebd75" providerId="AD" clId="Web-{5225B722-B84E-6065-F2A0-60DAAD75896E}" dt="2023-07-17T14:55:20.591" v="21"/>
          <ac:picMkLst>
            <pc:docMk/>
            <pc:sldMk cId="1019897426" sldId="793"/>
            <ac:picMk id="18" creationId="{80F9482C-C2B7-6F9D-33C2-1D44B1310C81}"/>
          </ac:picMkLst>
        </pc:picChg>
      </pc:sldChg>
      <pc:sldChg chg="modSp">
        <pc:chgData name="Kamile Walker" userId="S::kamiwalker@churchofjesuschrist.org::a6eb77e7-33bd-4c57-a3cf-538d131ebd75" providerId="AD" clId="Web-{5225B722-B84E-6065-F2A0-60DAAD75896E}" dt="2023-07-17T14:56:38.800" v="31" actId="1076"/>
        <pc:sldMkLst>
          <pc:docMk/>
          <pc:sldMk cId="4270646571" sldId="797"/>
        </pc:sldMkLst>
        <pc:spChg chg="mod">
          <ac:chgData name="Kamile Walker" userId="S::kamiwalker@churchofjesuschrist.org::a6eb77e7-33bd-4c57-a3cf-538d131ebd75" providerId="AD" clId="Web-{5225B722-B84E-6065-F2A0-60DAAD75896E}" dt="2023-07-17T14:56:33.768" v="30" actId="14100"/>
          <ac:spMkLst>
            <pc:docMk/>
            <pc:sldMk cId="4270646571" sldId="797"/>
            <ac:spMk id="5" creationId="{7615F437-AACA-9175-406B-64C66D810847}"/>
          </ac:spMkLst>
        </pc:spChg>
        <pc:spChg chg="mod">
          <ac:chgData name="Kamile Walker" userId="S::kamiwalker@churchofjesuschrist.org::a6eb77e7-33bd-4c57-a3cf-538d131ebd75" providerId="AD" clId="Web-{5225B722-B84E-6065-F2A0-60DAAD75896E}" dt="2023-07-17T14:56:38.800" v="31" actId="1076"/>
          <ac:spMkLst>
            <pc:docMk/>
            <pc:sldMk cId="4270646571" sldId="797"/>
            <ac:spMk id="9" creationId="{BB15C4F1-E9E5-652F-3489-C6E81DA9DC88}"/>
          </ac:spMkLst>
        </pc:spChg>
      </pc:sldChg>
      <pc:sldChg chg="modSp">
        <pc:chgData name="Kamile Walker" userId="S::kamiwalker@churchofjesuschrist.org::a6eb77e7-33bd-4c57-a3cf-538d131ebd75" providerId="AD" clId="Web-{5225B722-B84E-6065-F2A0-60DAAD75896E}" dt="2023-07-17T16:33:15.292" v="38" actId="14100"/>
        <pc:sldMkLst>
          <pc:docMk/>
          <pc:sldMk cId="3075817669" sldId="805"/>
        </pc:sldMkLst>
        <pc:spChg chg="mod">
          <ac:chgData name="Kamile Walker" userId="S::kamiwalker@churchofjesuschrist.org::a6eb77e7-33bd-4c57-a3cf-538d131ebd75" providerId="AD" clId="Web-{5225B722-B84E-6065-F2A0-60DAAD75896E}" dt="2023-07-17T16:32:54.275" v="34" actId="1076"/>
          <ac:spMkLst>
            <pc:docMk/>
            <pc:sldMk cId="3075817669" sldId="805"/>
            <ac:spMk id="5" creationId="{85A8D91E-9E2B-3E60-BC05-352ECCCECD29}"/>
          </ac:spMkLst>
        </pc:spChg>
        <pc:spChg chg="mod">
          <ac:chgData name="Kamile Walker" userId="S::kamiwalker@churchofjesuschrist.org::a6eb77e7-33bd-4c57-a3cf-538d131ebd75" providerId="AD" clId="Web-{5225B722-B84E-6065-F2A0-60DAAD75896E}" dt="2023-07-17T16:33:15.292" v="38" actId="14100"/>
          <ac:spMkLst>
            <pc:docMk/>
            <pc:sldMk cId="3075817669" sldId="805"/>
            <ac:spMk id="22" creationId="{B0BAD8DB-C2EB-1BBC-245C-7102B156F40B}"/>
          </ac:spMkLst>
        </pc:spChg>
        <pc:spChg chg="mod">
          <ac:chgData name="Kamile Walker" userId="S::kamiwalker@churchofjesuschrist.org::a6eb77e7-33bd-4c57-a3cf-538d131ebd75" providerId="AD" clId="Web-{5225B722-B84E-6065-F2A0-60DAAD75896E}" dt="2023-07-17T16:33:09.354" v="37" actId="14100"/>
          <ac:spMkLst>
            <pc:docMk/>
            <pc:sldMk cId="3075817669" sldId="805"/>
            <ac:spMk id="24" creationId="{BEE7202F-449B-9086-3496-720E953F2781}"/>
          </ac:spMkLst>
        </pc:spChg>
        <pc:spChg chg="mod">
          <ac:chgData name="Kamile Walker" userId="S::kamiwalker@churchofjesuschrist.org::a6eb77e7-33bd-4c57-a3cf-538d131ebd75" providerId="AD" clId="Web-{5225B722-B84E-6065-F2A0-60DAAD75896E}" dt="2023-07-17T16:33:02.510" v="35" actId="14100"/>
          <ac:spMkLst>
            <pc:docMk/>
            <pc:sldMk cId="3075817669" sldId="805"/>
            <ac:spMk id="30" creationId="{8AC79D5D-8AB4-1C8B-D4C6-7F14711042AB}"/>
          </ac:spMkLst>
        </pc:spChg>
      </pc:sldChg>
      <pc:sldChg chg="modSp">
        <pc:chgData name="Kamile Walker" userId="S::kamiwalker@churchofjesuschrist.org::a6eb77e7-33bd-4c57-a3cf-538d131ebd75" providerId="AD" clId="Web-{5225B722-B84E-6065-F2A0-60DAAD75896E}" dt="2023-07-17T16:35:10.519" v="44" actId="1076"/>
        <pc:sldMkLst>
          <pc:docMk/>
          <pc:sldMk cId="2626650125" sldId="808"/>
        </pc:sldMkLst>
        <pc:spChg chg="mod">
          <ac:chgData name="Kamile Walker" userId="S::kamiwalker@churchofjesuschrist.org::a6eb77e7-33bd-4c57-a3cf-538d131ebd75" providerId="AD" clId="Web-{5225B722-B84E-6065-F2A0-60DAAD75896E}" dt="2023-07-17T16:35:10.519" v="44" actId="1076"/>
          <ac:spMkLst>
            <pc:docMk/>
            <pc:sldMk cId="2626650125" sldId="808"/>
            <ac:spMk id="6" creationId="{D4E20C81-273A-914E-0603-17C8EC006BC0}"/>
          </ac:spMkLst>
        </pc:spChg>
      </pc:sldChg>
      <pc:sldChg chg="addSp delSp modSp">
        <pc:chgData name="Kamile Walker" userId="S::kamiwalker@churchofjesuschrist.org::a6eb77e7-33bd-4c57-a3cf-538d131ebd75" providerId="AD" clId="Web-{5225B722-B84E-6065-F2A0-60DAAD75896E}" dt="2023-07-17T14:53:11.193" v="20"/>
        <pc:sldMkLst>
          <pc:docMk/>
          <pc:sldMk cId="1507861903" sldId="810"/>
        </pc:sldMkLst>
        <pc:picChg chg="add del mod">
          <ac:chgData name="Kamile Walker" userId="S::kamiwalker@churchofjesuschrist.org::a6eb77e7-33bd-4c57-a3cf-538d131ebd75" providerId="AD" clId="Web-{5225B722-B84E-6065-F2A0-60DAAD75896E}" dt="2023-07-17T14:50:50.934" v="8"/>
          <ac:picMkLst>
            <pc:docMk/>
            <pc:sldMk cId="1507861903" sldId="810"/>
            <ac:picMk id="2" creationId="{9E8534F1-990E-D90C-AD5D-6BE12B420455}"/>
          </ac:picMkLst>
        </pc:picChg>
        <pc:picChg chg="add del">
          <ac:chgData name="Kamile Walker" userId="S::kamiwalker@churchofjesuschrist.org::a6eb77e7-33bd-4c57-a3cf-538d131ebd75" providerId="AD" clId="Web-{5225B722-B84E-6065-F2A0-60DAAD75896E}" dt="2023-07-17T14:51:16.123" v="14"/>
          <ac:picMkLst>
            <pc:docMk/>
            <pc:sldMk cId="1507861903" sldId="810"/>
            <ac:picMk id="3" creationId="{DD47FAD8-AD10-E57E-FBD1-C7CEB01A552A}"/>
          </ac:picMkLst>
        </pc:picChg>
        <pc:picChg chg="add mod">
          <ac:chgData name="Kamile Walker" userId="S::kamiwalker@churchofjesuschrist.org::a6eb77e7-33bd-4c57-a3cf-538d131ebd75" providerId="AD" clId="Web-{5225B722-B84E-6065-F2A0-60DAAD75896E}" dt="2023-07-17T14:51:39.624" v="15" actId="1076"/>
          <ac:picMkLst>
            <pc:docMk/>
            <pc:sldMk cId="1507861903" sldId="810"/>
            <ac:picMk id="4" creationId="{7C74E8FF-45CC-A9BA-92F6-169592D83F74}"/>
          </ac:picMkLst>
        </pc:picChg>
        <pc:picChg chg="add del mod">
          <ac:chgData name="Kamile Walker" userId="S::kamiwalker@churchofjesuschrist.org::a6eb77e7-33bd-4c57-a3cf-538d131ebd75" providerId="AD" clId="Web-{5225B722-B84E-6065-F2A0-60DAAD75896E}" dt="2023-07-17T14:53:11.193" v="20"/>
          <ac:picMkLst>
            <pc:docMk/>
            <pc:sldMk cId="1507861903" sldId="810"/>
            <ac:picMk id="5" creationId="{CA4CB4C4-D304-8C14-EC60-10BEF4733B29}"/>
          </ac:picMkLst>
        </pc:picChg>
      </pc:sldChg>
      <pc:sldChg chg="modSp">
        <pc:chgData name="Kamile Walker" userId="S::kamiwalker@churchofjesuschrist.org::a6eb77e7-33bd-4c57-a3cf-538d131ebd75" providerId="AD" clId="Web-{5225B722-B84E-6065-F2A0-60DAAD75896E}" dt="2023-07-17T16:33:45.622" v="39" actId="1076"/>
        <pc:sldMkLst>
          <pc:docMk/>
          <pc:sldMk cId="3699205717" sldId="823"/>
        </pc:sldMkLst>
        <pc:spChg chg="mod">
          <ac:chgData name="Kamile Walker" userId="S::kamiwalker@churchofjesuschrist.org::a6eb77e7-33bd-4c57-a3cf-538d131ebd75" providerId="AD" clId="Web-{5225B722-B84E-6065-F2A0-60DAAD75896E}" dt="2023-07-17T16:33:45.622" v="39" actId="1076"/>
          <ac:spMkLst>
            <pc:docMk/>
            <pc:sldMk cId="3699205717" sldId="823"/>
            <ac:spMk id="6" creationId="{03DB7BEA-64A9-8BC2-B0AF-DFD61C001233}"/>
          </ac:spMkLst>
        </pc:spChg>
      </pc:sldChg>
      <pc:sldChg chg="modSp">
        <pc:chgData name="Kamile Walker" userId="S::kamiwalker@churchofjesuschrist.org::a6eb77e7-33bd-4c57-a3cf-538d131ebd75" providerId="AD" clId="Web-{5225B722-B84E-6065-F2A0-60DAAD75896E}" dt="2023-07-17T16:34:39.110" v="42" actId="1076"/>
        <pc:sldMkLst>
          <pc:docMk/>
          <pc:sldMk cId="787964137" sldId="827"/>
        </pc:sldMkLst>
        <pc:spChg chg="mod">
          <ac:chgData name="Kamile Walker" userId="S::kamiwalker@churchofjesuschrist.org::a6eb77e7-33bd-4c57-a3cf-538d131ebd75" providerId="AD" clId="Web-{5225B722-B84E-6065-F2A0-60DAAD75896E}" dt="2023-07-17T16:34:39.110" v="42" actId="1076"/>
          <ac:spMkLst>
            <pc:docMk/>
            <pc:sldMk cId="787964137" sldId="827"/>
            <ac:spMk id="6" creationId="{03DB7BEA-64A9-8BC2-B0AF-DFD61C001233}"/>
          </ac:spMkLst>
        </pc:spChg>
        <pc:picChg chg="mod">
          <ac:chgData name="Kamile Walker" userId="S::kamiwalker@churchofjesuschrist.org::a6eb77e7-33bd-4c57-a3cf-538d131ebd75" providerId="AD" clId="Web-{5225B722-B84E-6065-F2A0-60DAAD75896E}" dt="2023-07-17T16:34:33.235" v="41" actId="1076"/>
          <ac:picMkLst>
            <pc:docMk/>
            <pc:sldMk cId="787964137" sldId="827"/>
            <ac:picMk id="4" creationId="{00116DBE-508C-B3C7-FB0C-B5908D6D3A55}"/>
          </ac:picMkLst>
        </pc:picChg>
      </pc:sldChg>
    </pc:docChg>
  </pc:docChgLst>
  <pc:docChgLst>
    <pc:chgData name="Kamile Walker" userId="S::kamiwalker@churchofjesuschrist.org::a6eb77e7-33bd-4c57-a3cf-538d131ebd75" providerId="AD" clId="Web-{923CC195-AD29-8E65-98FB-02ABBD0A90D1}"/>
    <pc:docChg chg="modSld">
      <pc:chgData name="Kamile Walker" userId="S::kamiwalker@churchofjesuschrist.org::a6eb77e7-33bd-4c57-a3cf-538d131ebd75" providerId="AD" clId="Web-{923CC195-AD29-8E65-98FB-02ABBD0A90D1}" dt="2023-07-17T20:08:03.313" v="37" actId="20577"/>
      <pc:docMkLst>
        <pc:docMk/>
      </pc:docMkLst>
      <pc:sldChg chg="modSp">
        <pc:chgData name="Kamile Walker" userId="S::kamiwalker@churchofjesuschrist.org::a6eb77e7-33bd-4c57-a3cf-538d131ebd75" providerId="AD" clId="Web-{923CC195-AD29-8E65-98FB-02ABBD0A90D1}" dt="2023-07-17T20:06:21.338" v="29" actId="1076"/>
        <pc:sldMkLst>
          <pc:docMk/>
          <pc:sldMk cId="1325330900" sldId="708"/>
        </pc:sldMkLst>
        <pc:spChg chg="mod">
          <ac:chgData name="Kamile Walker" userId="S::kamiwalker@churchofjesuschrist.org::a6eb77e7-33bd-4c57-a3cf-538d131ebd75" providerId="AD" clId="Web-{923CC195-AD29-8E65-98FB-02ABBD0A90D1}" dt="2023-07-17T20:06:21.338" v="29" actId="1076"/>
          <ac:spMkLst>
            <pc:docMk/>
            <pc:sldMk cId="1325330900" sldId="708"/>
            <ac:spMk id="6" creationId="{13E8FC40-0B31-F231-63AD-89B6AE3C938A}"/>
          </ac:spMkLst>
        </pc:spChg>
      </pc:sldChg>
      <pc:sldChg chg="modSp">
        <pc:chgData name="Kamile Walker" userId="S::kamiwalker@churchofjesuschrist.org::a6eb77e7-33bd-4c57-a3cf-538d131ebd75" providerId="AD" clId="Web-{923CC195-AD29-8E65-98FB-02ABBD0A90D1}" dt="2023-07-17T20:08:03.313" v="37" actId="20577"/>
        <pc:sldMkLst>
          <pc:docMk/>
          <pc:sldMk cId="3072156505" sldId="768"/>
        </pc:sldMkLst>
        <pc:spChg chg="mod">
          <ac:chgData name="Kamile Walker" userId="S::kamiwalker@churchofjesuschrist.org::a6eb77e7-33bd-4c57-a3cf-538d131ebd75" providerId="AD" clId="Web-{923CC195-AD29-8E65-98FB-02ABBD0A90D1}" dt="2023-07-17T20:08:03.313" v="37" actId="20577"/>
          <ac:spMkLst>
            <pc:docMk/>
            <pc:sldMk cId="3072156505" sldId="768"/>
            <ac:spMk id="3" creationId="{D29BDC45-E8FF-3C47-9619-A51C86E2259F}"/>
          </ac:spMkLst>
        </pc:spChg>
        <pc:spChg chg="mod">
          <ac:chgData name="Kamile Walker" userId="S::kamiwalker@churchofjesuschrist.org::a6eb77e7-33bd-4c57-a3cf-538d131ebd75" providerId="AD" clId="Web-{923CC195-AD29-8E65-98FB-02ABBD0A90D1}" dt="2023-07-17T20:07:28.748" v="33" actId="1076"/>
          <ac:spMkLst>
            <pc:docMk/>
            <pc:sldMk cId="3072156505" sldId="768"/>
            <ac:spMk id="6" creationId="{EC4FCF43-E4C8-D64C-86C6-C8705D0B98CC}"/>
          </ac:spMkLst>
        </pc:spChg>
      </pc:sldChg>
      <pc:sldChg chg="modSp">
        <pc:chgData name="Kamile Walker" userId="S::kamiwalker@churchofjesuschrist.org::a6eb77e7-33bd-4c57-a3cf-538d131ebd75" providerId="AD" clId="Web-{923CC195-AD29-8E65-98FB-02ABBD0A90D1}" dt="2023-07-17T20:03:23.498" v="2" actId="1076"/>
        <pc:sldMkLst>
          <pc:docMk/>
          <pc:sldMk cId="3075817669" sldId="805"/>
        </pc:sldMkLst>
        <pc:spChg chg="mod">
          <ac:chgData name="Kamile Walker" userId="S::kamiwalker@churchofjesuschrist.org::a6eb77e7-33bd-4c57-a3cf-538d131ebd75" providerId="AD" clId="Web-{923CC195-AD29-8E65-98FB-02ABBD0A90D1}" dt="2023-07-17T20:03:23.498" v="2" actId="1076"/>
          <ac:spMkLst>
            <pc:docMk/>
            <pc:sldMk cId="3075817669" sldId="805"/>
            <ac:spMk id="17" creationId="{5550BE1B-AFCC-B7D5-9AA6-23335220E768}"/>
          </ac:spMkLst>
        </pc:spChg>
        <pc:spChg chg="mod">
          <ac:chgData name="Kamile Walker" userId="S::kamiwalker@churchofjesuschrist.org::a6eb77e7-33bd-4c57-a3cf-538d131ebd75" providerId="AD" clId="Web-{923CC195-AD29-8E65-98FB-02ABBD0A90D1}" dt="2023-07-17T20:03:16.779" v="0" actId="1076"/>
          <ac:spMkLst>
            <pc:docMk/>
            <pc:sldMk cId="3075817669" sldId="805"/>
            <ac:spMk id="34" creationId="{416DF48E-CA52-29A7-3796-A2B845252115}"/>
          </ac:spMkLst>
        </pc:spChg>
        <pc:picChg chg="mod">
          <ac:chgData name="Kamile Walker" userId="S::kamiwalker@churchofjesuschrist.org::a6eb77e7-33bd-4c57-a3cf-538d131ebd75" providerId="AD" clId="Web-{923CC195-AD29-8E65-98FB-02ABBD0A90D1}" dt="2023-07-17T20:03:19.920" v="1" actId="1076"/>
          <ac:picMkLst>
            <pc:docMk/>
            <pc:sldMk cId="3075817669" sldId="805"/>
            <ac:picMk id="14" creationId="{50D12EBC-6B69-6CDD-13CD-B93740B79817}"/>
          </ac:picMkLst>
        </pc:picChg>
      </pc:sldChg>
      <pc:sldChg chg="modSp">
        <pc:chgData name="Kamile Walker" userId="S::kamiwalker@churchofjesuschrist.org::a6eb77e7-33bd-4c57-a3cf-538d131ebd75" providerId="AD" clId="Web-{923CC195-AD29-8E65-98FB-02ABBD0A90D1}" dt="2023-07-17T20:05:20.302" v="24" actId="20577"/>
        <pc:sldMkLst>
          <pc:docMk/>
          <pc:sldMk cId="3056659758" sldId="817"/>
        </pc:sldMkLst>
        <pc:spChg chg="mod">
          <ac:chgData name="Kamile Walker" userId="S::kamiwalker@churchofjesuschrist.org::a6eb77e7-33bd-4c57-a3cf-538d131ebd75" providerId="AD" clId="Web-{923CC195-AD29-8E65-98FB-02ABBD0A90D1}" dt="2023-07-17T20:05:20.302" v="24" actId="20577"/>
          <ac:spMkLst>
            <pc:docMk/>
            <pc:sldMk cId="3056659758" sldId="817"/>
            <ac:spMk id="5" creationId="{ED6886AA-EEE7-9E02-E4DF-0DAF0C60BD8A}"/>
          </ac:spMkLst>
        </pc:spChg>
      </pc:sldChg>
      <pc:sldChg chg="modSp">
        <pc:chgData name="Kamile Walker" userId="S::kamiwalker@churchofjesuschrist.org::a6eb77e7-33bd-4c57-a3cf-538d131ebd75" providerId="AD" clId="Web-{923CC195-AD29-8E65-98FB-02ABBD0A90D1}" dt="2023-07-17T20:04:01.344" v="10" actId="1076"/>
        <pc:sldMkLst>
          <pc:docMk/>
          <pc:sldMk cId="3569784783" sldId="819"/>
        </pc:sldMkLst>
        <pc:spChg chg="mod">
          <ac:chgData name="Kamile Walker" userId="S::kamiwalker@churchofjesuschrist.org::a6eb77e7-33bd-4c57-a3cf-538d131ebd75" providerId="AD" clId="Web-{923CC195-AD29-8E65-98FB-02ABBD0A90D1}" dt="2023-07-17T20:04:01.344" v="10" actId="1076"/>
          <ac:spMkLst>
            <pc:docMk/>
            <pc:sldMk cId="3569784783" sldId="819"/>
            <ac:spMk id="28" creationId="{2DF252B8-74CF-F44D-9C66-D414C0B370E9}"/>
          </ac:spMkLst>
        </pc:spChg>
        <pc:spChg chg="mod">
          <ac:chgData name="Kamile Walker" userId="S::kamiwalker@churchofjesuschrist.org::a6eb77e7-33bd-4c57-a3cf-538d131ebd75" providerId="AD" clId="Web-{923CC195-AD29-8E65-98FB-02ABBD0A90D1}" dt="2023-07-17T20:03:50.312" v="6" actId="1076"/>
          <ac:spMkLst>
            <pc:docMk/>
            <pc:sldMk cId="3569784783" sldId="819"/>
            <ac:spMk id="29" creationId="{CED74288-F993-2A4C-A717-1C6A7F535098}"/>
          </ac:spMkLst>
        </pc:spChg>
        <pc:picChg chg="mod">
          <ac:chgData name="Kamile Walker" userId="S::kamiwalker@churchofjesuschrist.org::a6eb77e7-33bd-4c57-a3cf-538d131ebd75" providerId="AD" clId="Web-{923CC195-AD29-8E65-98FB-02ABBD0A90D1}" dt="2023-07-17T20:03:50.281" v="5" actId="1076"/>
          <ac:picMkLst>
            <pc:docMk/>
            <pc:sldMk cId="3569784783" sldId="819"/>
            <ac:picMk id="15" creationId="{4751089D-F608-11C4-D7FE-8747798B7545}"/>
          </ac:picMkLst>
        </pc:picChg>
        <pc:picChg chg="mod">
          <ac:chgData name="Kamile Walker" userId="S::kamiwalker@churchofjesuschrist.org::a6eb77e7-33bd-4c57-a3cf-538d131ebd75" providerId="AD" clId="Web-{923CC195-AD29-8E65-98FB-02ABBD0A90D1}" dt="2023-07-17T20:04:01.329" v="9" actId="1076"/>
          <ac:picMkLst>
            <pc:docMk/>
            <pc:sldMk cId="3569784783" sldId="819"/>
            <ac:picMk id="17" creationId="{75FD2F3B-D7F7-621E-F062-E1CBD8B19254}"/>
          </ac:picMkLst>
        </pc:picChg>
      </pc:sldChg>
      <pc:sldChg chg="modSp">
        <pc:chgData name="Kamile Walker" userId="S::kamiwalker@churchofjesuschrist.org::a6eb77e7-33bd-4c57-a3cf-538d131ebd75" providerId="AD" clId="Web-{923CC195-AD29-8E65-98FB-02ABBD0A90D1}" dt="2023-07-17T20:04:16.861" v="15" actId="1076"/>
        <pc:sldMkLst>
          <pc:docMk/>
          <pc:sldMk cId="3699205717" sldId="823"/>
        </pc:sldMkLst>
        <pc:spChg chg="mod">
          <ac:chgData name="Kamile Walker" userId="S::kamiwalker@churchofjesuschrist.org::a6eb77e7-33bd-4c57-a3cf-538d131ebd75" providerId="AD" clId="Web-{923CC195-AD29-8E65-98FB-02ABBD0A90D1}" dt="2023-07-17T20:04:14.189" v="13" actId="1076"/>
          <ac:spMkLst>
            <pc:docMk/>
            <pc:sldMk cId="3699205717" sldId="823"/>
            <ac:spMk id="3" creationId="{81653977-D96C-313F-7524-62BCEB14BF90}"/>
          </ac:spMkLst>
        </pc:spChg>
        <pc:spChg chg="mod">
          <ac:chgData name="Kamile Walker" userId="S::kamiwalker@churchofjesuschrist.org::a6eb77e7-33bd-4c57-a3cf-538d131ebd75" providerId="AD" clId="Web-{923CC195-AD29-8E65-98FB-02ABBD0A90D1}" dt="2023-07-17T20:04:16.861" v="15" actId="1076"/>
          <ac:spMkLst>
            <pc:docMk/>
            <pc:sldMk cId="3699205717" sldId="823"/>
            <ac:spMk id="6" creationId="{03DB7BEA-64A9-8BC2-B0AF-DFD61C001233}"/>
          </ac:spMkLst>
        </pc:spChg>
        <pc:picChg chg="mod">
          <ac:chgData name="Kamile Walker" userId="S::kamiwalker@churchofjesuschrist.org::a6eb77e7-33bd-4c57-a3cf-538d131ebd75" providerId="AD" clId="Web-{923CC195-AD29-8E65-98FB-02ABBD0A90D1}" dt="2023-07-17T20:04:14.204" v="14" actId="1076"/>
          <ac:picMkLst>
            <pc:docMk/>
            <pc:sldMk cId="3699205717" sldId="823"/>
            <ac:picMk id="4" creationId="{8415BE5B-6B1E-8B91-BD83-964AF63C94B5}"/>
          </ac:picMkLst>
        </pc:picChg>
      </pc:sldChg>
      <pc:sldChg chg="modSp">
        <pc:chgData name="Kamile Walker" userId="S::kamiwalker@churchofjesuschrist.org::a6eb77e7-33bd-4c57-a3cf-538d131ebd75" providerId="AD" clId="Web-{923CC195-AD29-8E65-98FB-02ABBD0A90D1}" dt="2023-07-17T20:04:41.691" v="17" actId="1076"/>
        <pc:sldMkLst>
          <pc:docMk/>
          <pc:sldMk cId="3388375151" sldId="826"/>
        </pc:sldMkLst>
        <pc:spChg chg="mod">
          <ac:chgData name="Kamile Walker" userId="S::kamiwalker@churchofjesuschrist.org::a6eb77e7-33bd-4c57-a3cf-538d131ebd75" providerId="AD" clId="Web-{923CC195-AD29-8E65-98FB-02ABBD0A90D1}" dt="2023-07-17T20:04:41.691" v="16" actId="1076"/>
          <ac:spMkLst>
            <pc:docMk/>
            <pc:sldMk cId="3388375151" sldId="826"/>
            <ac:spMk id="5" creationId="{07B22FE7-E9AD-1295-89CE-0E95D93FF3AF}"/>
          </ac:spMkLst>
        </pc:spChg>
        <pc:picChg chg="mod">
          <ac:chgData name="Kamile Walker" userId="S::kamiwalker@churchofjesuschrist.org::a6eb77e7-33bd-4c57-a3cf-538d131ebd75" providerId="AD" clId="Web-{923CC195-AD29-8E65-98FB-02ABBD0A90D1}" dt="2023-07-17T20:04:41.691" v="17" actId="1076"/>
          <ac:picMkLst>
            <pc:docMk/>
            <pc:sldMk cId="3388375151" sldId="826"/>
            <ac:picMk id="8" creationId="{2E9F2A2E-C102-077C-0022-A9BC926B21A7}"/>
          </ac:picMkLst>
        </pc:picChg>
      </pc:sldChg>
      <pc:sldChg chg="modSp">
        <pc:chgData name="Kamile Walker" userId="S::kamiwalker@churchofjesuschrist.org::a6eb77e7-33bd-4c57-a3cf-538d131ebd75" providerId="AD" clId="Web-{923CC195-AD29-8E65-98FB-02ABBD0A90D1}" dt="2023-07-17T20:05:57.461" v="28" actId="1076"/>
        <pc:sldMkLst>
          <pc:docMk/>
          <pc:sldMk cId="787964137" sldId="827"/>
        </pc:sldMkLst>
        <pc:spChg chg="mod">
          <ac:chgData name="Kamile Walker" userId="S::kamiwalker@churchofjesuschrist.org::a6eb77e7-33bd-4c57-a3cf-538d131ebd75" providerId="AD" clId="Web-{923CC195-AD29-8E65-98FB-02ABBD0A90D1}" dt="2023-07-17T20:05:57.461" v="28" actId="1076"/>
          <ac:spMkLst>
            <pc:docMk/>
            <pc:sldMk cId="787964137" sldId="827"/>
            <ac:spMk id="6" creationId="{03DB7BEA-64A9-8BC2-B0AF-DFD61C001233}"/>
          </ac:spMkLst>
        </pc:spChg>
        <pc:spChg chg="mod">
          <ac:chgData name="Kamile Walker" userId="S::kamiwalker@churchofjesuschrist.org::a6eb77e7-33bd-4c57-a3cf-538d131ebd75" providerId="AD" clId="Web-{923CC195-AD29-8E65-98FB-02ABBD0A90D1}" dt="2023-07-17T20:05:47.804" v="25" actId="1076"/>
          <ac:spMkLst>
            <pc:docMk/>
            <pc:sldMk cId="787964137" sldId="827"/>
            <ac:spMk id="7" creationId="{3D54DC1D-795B-CFD9-404F-0F73FCE19CC1}"/>
          </ac:spMkLst>
        </pc:spChg>
        <pc:picChg chg="mod">
          <ac:chgData name="Kamile Walker" userId="S::kamiwalker@churchofjesuschrist.org::a6eb77e7-33bd-4c57-a3cf-538d131ebd75" providerId="AD" clId="Web-{923CC195-AD29-8E65-98FB-02ABBD0A90D1}" dt="2023-07-17T20:05:51.086" v="27" actId="1076"/>
          <ac:picMkLst>
            <pc:docMk/>
            <pc:sldMk cId="787964137" sldId="827"/>
            <ac:picMk id="4" creationId="{00116DBE-508C-B3C7-FB0C-B5908D6D3A55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594-634F-B02F-DDD49E018ABE}"/>
              </c:ext>
            </c:extLst>
          </c:dPt>
          <c:dPt>
            <c:idx val="1"/>
            <c:bubble3D val="0"/>
            <c:spPr>
              <a:solidFill>
                <a:schemeClr val="accent6">
                  <a:lumMod val="10000"/>
                  <a:lumOff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589C-D14E-85C5-73EDE130501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594-634F-B02F-DDD49E018AB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594-634F-B02F-DDD49E018ABE}"/>
              </c:ext>
            </c:extLst>
          </c:dPt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94</c:v>
                </c:pt>
                <c:pt idx="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9C-D14E-85C5-73EDE13050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5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2C7_EA05BB8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4B25FC3-3318-CC4B-A53F-B88E0CAC84E9}" authorId="{B885D405-1711-1831-477F-C787C7AED583}" status="resolved" created="2023-04-04T16:24:55.112" complete="100000">
    <pc:sldMkLst xmlns:pc="http://schemas.microsoft.com/office/powerpoint/2013/main/command">
      <pc:docMk/>
      <pc:sldMk cId="114471993" sldId="711"/>
    </pc:sldMkLst>
    <p188:txBody>
      <a:bodyPr/>
      <a:lstStyle/>
      <a:p>
        <a:r>
          <a:rPr lang="en-US"/>
          <a:t>Optional resource</a:t>
        </a:r>
      </a:p>
    </p188:txBody>
  </p188:cm>
</p188:cmLst>
</file>

<file path=ppt/comments/modernComment_300_B71D635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F7020DD-15D0-CD48-96B1-845139ACCB09}" authorId="{B885D405-1711-1831-477F-C787C7AED583}" created="2023-04-04T16:48:16.700">
    <pc:sldMkLst xmlns:pc="http://schemas.microsoft.com/office/powerpoint/2013/main/command">
      <pc:docMk/>
      <pc:sldMk cId="3072156505" sldId="768"/>
    </pc:sldMkLst>
    <p188:replyLst>
      <p188:reply id="{E6578F57-955A-427B-A59F-18AC3F6CE6DC}" authorId="{FED73FBC-A036-D1F6-3299-491A76AB1ED9}" created="2023-06-22T18:43:42.886">
        <p188:txBody>
          <a:bodyPr/>
          <a:lstStyle/>
          <a:p>
            <a:r>
              <a:rPr lang="en-US"/>
              <a:t>[@Krista Tripodi] is Brian's comment something I need to do or has it been done?</a:t>
            </a:r>
          </a:p>
        </p188:txBody>
      </p188:reply>
      <p188:reply id="{139ADC0B-C20C-4BD8-B4C8-F6B0DFA3944B}" authorId="{7F53F03F-B685-1726-08D6-9131CED005D3}" created="2023-06-22T19:19:23.377">
        <p188:txBody>
          <a:bodyPr/>
          <a:lstStyle/>
          <a:p>
            <a:r>
              <a:rPr lang="en-US"/>
              <a:t>[@Eric Eames] can you confirm if this branding and these icons are the latest? </a:t>
            </a:r>
          </a:p>
        </p188:txBody>
      </p188:reply>
      <p188:reply id="{BE76BD55-2740-184A-BA92-5D7323EF2EE1}" authorId="{7F53F03F-B685-1726-08D6-9131CED005D3}" created="2023-06-29T22:30:27.350">
        <p188:txBody>
          <a:bodyPr/>
          <a:lstStyle/>
          <a:p>
            <a:r>
              <a:rPr lang="en-US"/>
              <a:t>[@Kamile Walker] Eric is going to send you some new graphics/images to replace these icons. </a:t>
            </a:r>
          </a:p>
        </p188:txBody>
      </p188:reply>
      <p188:reply id="{F7BB7820-ED79-4CE3-A738-3159D13C0563}" authorId="{FED73FBC-A036-D1F6-3299-491A76AB1ED9}" created="2023-06-29T22:37:12.486">
        <p188:txBody>
          <a:bodyPr/>
          <a:lstStyle/>
          <a:p>
            <a:r>
              <a:rPr lang="en-US"/>
              <a:t>[@Krista Tripodi] I will add them once I receive them. Are they different from what is in the EC icon library? I have access to those icons but they look the same as these. </a:t>
            </a:r>
          </a:p>
        </p188:txBody>
      </p188:reply>
    </p188:replyLst>
    <p188:txBody>
      <a:bodyPr/>
      <a:lstStyle/>
      <a:p>
        <a:r>
          <a:rPr lang="en-US"/>
          <a:t>Swap out icons and update branding</a:t>
        </a:r>
      </a:p>
    </p188:txBody>
  </p188:cm>
</p188:cmLst>
</file>

<file path=ppt/comments/modernComment_301_1BAB5F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E84F90C-76A4-4233-9C69-17FE4FB79C99}" authorId="{72C0B539-49F2-F39A-CA35-868BD0F2DB07}" status="resolved" created="2023-06-22T19:55:37.754" complete="100000">
    <pc:sldMkLst xmlns:pc="http://schemas.microsoft.com/office/powerpoint/2013/main/command">
      <pc:docMk/>
      <pc:sldMk cId="29013491" sldId="769"/>
    </pc:sldMkLst>
    <p188:txBody>
      <a:bodyPr/>
      <a:lstStyle/>
      <a:p>
        <a:r>
          <a:rPr lang="en-US"/>
          <a:t>Removed periods since these are acting as bullets that are incomplete sentences</a:t>
        </a:r>
      </a:p>
    </p188:txBody>
  </p188:cm>
</p188:cmLst>
</file>

<file path=ppt/comments/modernComment_322_75F3E2F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65A4138-DE9D-4DDC-A5C4-AC9D71F934F4}" authorId="{72C0B539-49F2-F39A-CA35-868BD0F2DB07}" status="resolved" created="2023-06-22T19:53:04.326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978917620" sldId="802"/>
      <ac:spMk id="2" creationId="{98E4E0C1-C04E-5949-978F-7C827D444D55}"/>
      <ac:txMk cp="25" len="100">
        <ac:context len="126" hash="2053605567"/>
      </ac:txMk>
    </ac:txMkLst>
    <p188:pos x="3047999" y="573548"/>
    <p188:replyLst>
      <p188:reply id="{DC446945-8361-466D-A0B2-0431C6A4AB86}" authorId="{72C0B539-49F2-F39A-CA35-868BD0F2DB07}" created="2023-06-22T19:53:33.452">
        <p188:txBody>
          <a:bodyPr/>
          <a:lstStyle/>
          <a:p>
            <a:r>
              <a:rPr lang="en-US"/>
              <a:t>Italicized:
"Inauguration Remarks,” (BYU-Pathway Worldwide Inauguration, Mar. 10, 2022), byupathway.org/speeches</a:t>
            </a:r>
          </a:p>
        </p188:txBody>
      </p188:reply>
      <p188:reply id="{4563A8D2-E496-4CAE-8E4C-01C68E2D88E3}" authorId="{FED73FBC-A036-D1F6-3299-491A76AB1ED9}" created="2023-06-28T22:17:16.557">
        <p188:txBody>
          <a:bodyPr/>
          <a:lstStyle/>
          <a:p>
            <a:r>
              <a:rPr lang="en-US"/>
              <a:t>BYU-Pathway Worldwide is split between two lines, I can't get it to be on the same line without making the text box super narrow. Thoughts?</a:t>
            </a:r>
          </a:p>
        </p188:txBody>
      </p188:reply>
      <p188:reply id="{5AC7D59B-ADBC-4AA7-81F1-25CED399A676}" authorId="{72C0B539-49F2-F39A-CA35-868BD0F2DB07}" created="2023-06-29T23:34:10.307">
        <p188:txBody>
          <a:bodyPr/>
          <a:lstStyle/>
          <a:p>
            <a:r>
              <a:rPr lang="en-US"/>
              <a:t>Can you keep "BYU-Pathway" together with "Worldwide" on the next line?</a:t>
            </a:r>
          </a:p>
        </p188:txBody>
      </p188:reply>
    </p188:replyLst>
    <p188:txBody>
      <a:bodyPr/>
      <a:lstStyle/>
      <a:p>
        <a:r>
          <a:rPr lang="en-US"/>
          <a:t>No citation?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E52FE1-CCD4-DA4A-9401-C14580C5AC55}" type="datetimeFigureOut">
              <a:rPr lang="en-US" smtClean="0"/>
              <a:t>1/31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D1130C-9DDE-7143-B00B-FB168B1F4C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788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A43A2C-642F-6749-9FE2-174AD2D6A55A}" type="datetimeFigureOut">
              <a:rPr lang="en-US" smtClean="0"/>
              <a:t>1/31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15BBEC-FCFA-104A-A502-D7EB7C3446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673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yupathway.org/" TargetMode="External"/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9843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3953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2310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07520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1452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0453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8392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6541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t>Cada estudiante tiene un camino único hacia la obtención de un título, y BYU-Pathway proporciona un camino a seguir para cada uno de ellos, independientemente de las circunstancias económicas, culturales y personales.</a:t>
            </a:r>
            <a:endParaRPr lang="en-US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0675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94508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7407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90420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Calibri"/>
              <a:buChar char="-"/>
              <a:defRPr>
                <a:solidFill>
                  <a:srgbClr val="2D2D2D"/>
                </a:solidFill>
                <a:latin typeface="Arvo"/>
              </a:defRPr>
            </a:pPr>
            <a:r>
              <a:rPr>
                <a:effectLst/>
              </a:rPr>
              <a:t>BYU-Pathway está creciendo rápidamente, sirviendo a </a:t>
            </a:r>
            <a:r>
              <a:t>61,338 </a:t>
            </a:r>
            <a:r>
              <a:rPr>
                <a:effectLst/>
              </a:rPr>
              <a:t>estudiantes en 2022</a:t>
            </a:r>
            <a:r>
              <a:t>, en los 50 estados y en más de 180 países en todo el mundo.</a:t>
            </a:r>
            <a:endParaRPr lang="en-US" b="1">
              <a:solidFill>
                <a:srgbClr val="000000"/>
              </a:solidFill>
              <a:latin typeface="Calibri"/>
              <a:cs typeface="Calibri"/>
            </a:endParaRPr>
          </a:p>
          <a:p>
            <a:pPr marL="171450" indent="-171450">
              <a:buFont typeface="Calibri"/>
              <a:buChar char="-"/>
              <a:defRPr>
                <a:solidFill>
                  <a:srgbClr val="2D2D2D"/>
                </a:solidFill>
                <a:latin typeface="Arvo"/>
              </a:defRPr>
            </a:pPr>
            <a:r>
              <a:rPr>
                <a:effectLst/>
              </a:rPr>
              <a:t>Cada número en ese total representa a un individuo con experiencias, talentos y necesidades únicas, muchos de los cuales han estado anhelando nuevas oportunidades y orando por milagros.</a:t>
            </a:r>
            <a:r>
              <a:t> </a:t>
            </a:r>
            <a:endParaRPr lang="en-US">
              <a:solidFill>
                <a:srgbClr val="000000"/>
              </a:solidFill>
              <a:latin typeface="Calibri" panose="020F0502020204030204"/>
              <a:cs typeface="Calibri"/>
            </a:endParaRPr>
          </a:p>
          <a:p>
            <a:pPr marL="171450" indent="-171450">
              <a:buFont typeface="Calibri"/>
              <a:buChar char="-"/>
              <a:defRPr/>
            </a:pPr>
            <a:r>
              <a:rPr>
                <a:solidFill>
                  <a:srgbClr val="2D2D2D"/>
                </a:solidFill>
                <a:latin typeface="Arvo"/>
              </a:rPr>
              <a:t>Existe un espíritu especial de unidad en </a:t>
            </a:r>
            <a:r>
              <a:rPr u="sng">
                <a:effectLst/>
                <a:latin typeface="Open Sans"/>
                <a:ea typeface="Open Sans"/>
                <a:cs typeface="Open Sans"/>
                <a:hlinkClick r:id="rId3"/>
              </a:rPr>
              <a:t>BYU-Pathway Worldwide</a:t>
            </a:r>
            <a:r>
              <a:rPr>
                <a:solidFill>
                  <a:srgbClr val="58595B"/>
                </a:solidFill>
                <a:effectLst/>
                <a:latin typeface="Open Sans"/>
                <a:ea typeface="Open Sans"/>
                <a:cs typeface="Open Sans"/>
              </a:rPr>
              <a:t> </a:t>
            </a:r>
            <a:r>
              <a:rPr>
                <a:solidFill>
                  <a:srgbClr val="2D2D2D"/>
                </a:solidFill>
                <a:latin typeface="Arvo"/>
              </a:rPr>
              <a:t>a medida que estudiantes de todo el mundo se reúnen y participan en cursos que incorporan las enseñanzas de Jesucristo.</a:t>
            </a:r>
            <a:endParaRPr lang="en-US">
              <a:solidFill>
                <a:srgbClr val="000000"/>
              </a:solidFill>
              <a:latin typeface="Calibri" panose="020F0502020204030204"/>
              <a:cs typeface="Calibri"/>
            </a:endParaRPr>
          </a:p>
          <a:p>
            <a:pPr marL="171450" indent="-171450">
              <a:buFont typeface="Calibri"/>
              <a:buChar char="-"/>
              <a:defRPr>
                <a:solidFill>
                  <a:srgbClr val="2D2D2D"/>
                </a:solidFill>
                <a:latin typeface="Arvo"/>
              </a:defRPr>
            </a:pPr>
            <a:r>
              <a:t>En consecuencia, BYU-Pathway tiene un papel único que desempeñar en la construcción de Sión.</a:t>
            </a:r>
            <a:endParaRPr lang="en-US">
              <a:solidFill>
                <a:srgbClr val="000000"/>
              </a:solidFill>
              <a:latin typeface="Calibri" panose="020F0502020204030204"/>
              <a:cs typeface="Calibri"/>
            </a:endParaRPr>
          </a:p>
          <a:p>
            <a:pPr marL="171450" indent="-171450">
              <a:buFont typeface="Calibri"/>
              <a:buChar char="-"/>
              <a:defRPr>
                <a:solidFill>
                  <a:srgbClr val="2D2D2D"/>
                </a:solidFill>
                <a:latin typeface="Arvo"/>
              </a:defRPr>
            </a:pPr>
            <a:r>
              <a:t>Más información disponible en: https://www.byupathway.org/annual-report-2022</a:t>
            </a: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8406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85286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11708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86487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00585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27827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68575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[Nota: también puede hacer arreglos para que un estudiante antiguo o actual de BYU-Pathway comparta su testimonio / experiencia y / o para que usted comparta su propio testimonio sobre la importancia de la educación.Considere proporcionar folletos a los participantes para que puedan aprender más y/o compartir con otros.Puede encontrar recursos en byupathway.org/marketing-resources].</a:t>
            </a:r>
            <a:endParaRPr lang="en-US">
              <a:cs typeface="Calibri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05838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t>[NOTA: Las siguientes cinco diapositivas pueden presentarse cuando se compartan con los líderes de la Iglesia.Es esencial que los líderes de la Iglesia entiendan cómo BYU-Pathway puede servir como una herramienta poderosa en sus esfuerzos de ministración.]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>
              <a:defRPr/>
            </a:pPr>
            <a:r>
              <a:t>¿Por qué el presidente Russell M. Nelson declaró que BYU-Pathway es único en el mundo? Una razón es porque BYU-Pathway Worldwide es una organización de educación superior con la misión de "formar discípulos de Jesucristo que sean líderes en sus hogares, la Iglesia y sus comunidades". En consecuencia, los estudiantes que participan en BYU-Pathway reciben el evangelio de Jesucristo en sus corazones, se convierten en aprendices capaces y se preparan para dirigir y apoyar a sus familias.  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84812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18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13383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13396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58409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02329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640BCA-202F-3B49-8F50-ED6A5FE587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843216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640BCA-202F-3B49-8F50-ED6A5FE587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7455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sz="1200"/>
              <a:t>Los certificados enseñan aptitudes laborales comercializables que pueden mejorar el empleo.</a:t>
            </a:r>
            <a:r>
              <a:t> </a:t>
            </a:r>
            <a:endParaRPr lang="en-US" sz="1200"/>
          </a:p>
          <a:p>
            <a:pPr>
              <a:lnSpc>
                <a:spcPct val="110000"/>
              </a:lnSpc>
            </a:pPr>
            <a:endParaRPr lang="en-US" sz="1200"/>
          </a:p>
          <a:p>
            <a:pPr>
              <a:lnSpc>
                <a:spcPct val="110000"/>
              </a:lnSpc>
            </a:pPr>
            <a:r>
              <a:rPr sz="1200"/>
              <a:t>Los certificados </a:t>
            </a:r>
            <a:r>
              <a:t>generalmente se</a:t>
            </a:r>
            <a:r>
              <a:rPr sz="1200"/>
              <a:t> componen </a:t>
            </a:r>
            <a:r>
              <a:t>de 5-6</a:t>
            </a:r>
            <a:r>
              <a:rPr sz="1200"/>
              <a:t> cursos, y cada certificado </a:t>
            </a:r>
            <a:r>
              <a:rPr sz="1200" b="1">
                <a:solidFill>
                  <a:srgbClr val="3A929D"/>
                </a:solidFill>
              </a:rPr>
              <a:t>se puede completar en un año o menos</a:t>
            </a:r>
            <a:r>
              <a:rPr sz="1200"/>
              <a:t>.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0153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95532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5841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1000" u="none" strike="noStrike">
              <a:effectLst/>
              <a:latin typeface="+mj-lt"/>
              <a:ea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23D855-7AB7-AC46-905D-9613FF3E6A5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7959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b="1"/>
            </a:pPr>
            <a:r>
              <a:t>Jonathon </a:t>
            </a:r>
            <a:r>
              <a:rPr>
                <a:solidFill>
                  <a:srgbClr val="000000"/>
                </a:solidFill>
              </a:rPr>
              <a:t>Ordillas</a:t>
            </a:r>
          </a:p>
          <a:p>
            <a:pPr marL="285750" indent="-285750">
              <a:buFont typeface="Calibri"/>
              <a:buChar char="-"/>
            </a:pPr>
            <a:r>
              <a:rPr>
                <a:latin typeface="Calibri Light"/>
                <a:cs typeface="Calibri Light"/>
              </a:rPr>
              <a:t>Vive</a:t>
            </a:r>
            <a:r>
              <a:rPr sz="1200">
                <a:effectLst/>
                <a:latin typeface="+mj-lt"/>
                <a:ea typeface="Arial" panose="020B0604020202020204" pitchFamily="34" charset="0"/>
              </a:rPr>
              <a:t> en Filipinas</a:t>
            </a:r>
            <a:endParaRPr lang="en-US" sz="1200">
              <a:latin typeface="+mj-lt"/>
              <a:ea typeface="Arial" panose="020B0604020202020204" pitchFamily="34" charset="0"/>
              <a:cs typeface="Calibri Light"/>
            </a:endParaRPr>
          </a:p>
          <a:p>
            <a:pPr marL="285750" indent="-285750">
              <a:lnSpc>
                <a:spcPct val="115000"/>
              </a:lnSpc>
              <a:buFont typeface="Calibri"/>
              <a:buChar char="-"/>
              <a:defRPr sz="1200">
                <a:effectLst/>
                <a:latin typeface="+mj-lt"/>
                <a:ea typeface="Arial" panose="020B0604020202020204" pitchFamily="34" charset="0"/>
              </a:defRPr>
            </a:pPr>
            <a:r>
              <a:t>Cuando regresó de su misión, descubrió que su padre había perdido el trabajo y su familia estaba luchando con las deudas</a:t>
            </a:r>
            <a:endParaRPr lang="en-US" sz="1200" u="none" strike="noStrike">
              <a:effectLst/>
              <a:latin typeface="+mj-lt"/>
              <a:ea typeface="Arial" panose="020B0604020202020204" pitchFamily="34" charset="0"/>
              <a:cs typeface="Calibri Light"/>
            </a:endParaRPr>
          </a:p>
          <a:p>
            <a:pPr marL="285750" indent="-285750">
              <a:lnSpc>
                <a:spcPct val="115000"/>
              </a:lnSpc>
              <a:buFont typeface="Calibri"/>
              <a:buChar char="-"/>
              <a:defRPr>
                <a:latin typeface="+mj-lt"/>
                <a:ea typeface="Arial" panose="020B0604020202020204" pitchFamily="34" charset="0"/>
              </a:defRPr>
            </a:pPr>
            <a:r>
              <a:rPr sz="1200"/>
              <a:t>Se inscribió en BYU-Pathway y comenzó a </a:t>
            </a:r>
            <a:r>
              <a:t>obtener</a:t>
            </a:r>
            <a:r>
              <a:rPr sz="1200"/>
              <a:t> un título en </a:t>
            </a:r>
            <a:r>
              <a:t>tecnología de la</a:t>
            </a:r>
            <a:r>
              <a:rPr sz="1200"/>
              <a:t> información </a:t>
            </a:r>
            <a:endParaRPr lang="en-US" sz="1200">
              <a:latin typeface="+mj-lt"/>
              <a:ea typeface="Arial" panose="020B0604020202020204" pitchFamily="34" charset="0"/>
              <a:cs typeface="Calibri Light"/>
            </a:endParaRPr>
          </a:p>
          <a:p>
            <a:pPr marL="285750" indent="-285750">
              <a:lnSpc>
                <a:spcPct val="115000"/>
              </a:lnSpc>
              <a:buFont typeface="Calibri"/>
              <a:buChar char="-"/>
              <a:defRPr sz="1200">
                <a:effectLst/>
                <a:latin typeface="+mj-lt"/>
                <a:ea typeface="Arial" panose="020B0604020202020204" pitchFamily="34" charset="0"/>
              </a:defRPr>
            </a:pPr>
            <a:r>
              <a:t>Obtuvo un puesto de investigación de mercado en Clear Insights a través de su conexión con BYU-Pathway</a:t>
            </a:r>
            <a:endParaRPr lang="en-US" sz="1200" u="none" strike="noStrike">
              <a:effectLst/>
              <a:latin typeface="+mj-lt"/>
              <a:ea typeface="Arial" panose="020B0604020202020204" pitchFamily="34" charset="0"/>
              <a:cs typeface="Calibri Light"/>
            </a:endParaRPr>
          </a:p>
          <a:p>
            <a:pPr marL="285750" indent="-285750">
              <a:lnSpc>
                <a:spcPct val="115000"/>
              </a:lnSpc>
              <a:buFont typeface="Calibri"/>
              <a:buChar char="-"/>
              <a:defRPr sz="1200">
                <a:latin typeface="+mj-lt"/>
                <a:ea typeface="Arial" panose="020B0604020202020204" pitchFamily="34" charset="0"/>
              </a:defRPr>
            </a:pPr>
            <a:r>
              <a:t>Ahora gana el triple del salario mínimo en Filipinas</a:t>
            </a:r>
            <a:endParaRPr lang="en-US" sz="1200" u="none" strike="noStrike">
              <a:effectLst/>
              <a:latin typeface="+mj-lt"/>
              <a:ea typeface="Arial" panose="020B0604020202020204" pitchFamily="34" charset="0"/>
              <a:cs typeface="Calibri Light"/>
            </a:endParaRPr>
          </a:p>
          <a:p>
            <a:pPr marL="285750" indent="-285750">
              <a:lnSpc>
                <a:spcPct val="115000"/>
              </a:lnSpc>
              <a:buFont typeface="Calibri"/>
              <a:buChar char="-"/>
              <a:defRPr>
                <a:latin typeface="+mj-lt"/>
                <a:ea typeface="Arial" panose="020B0604020202020204" pitchFamily="34" charset="0"/>
              </a:defRPr>
            </a:pPr>
            <a:r>
              <a:rPr sz="1200"/>
              <a:t>Está a solo un par de meses de terminar su primer certificado como ingeniero de </a:t>
            </a:r>
            <a:r>
              <a:t>soporte</a:t>
            </a:r>
            <a:r>
              <a:rPr sz="1200"/>
              <a:t> </a:t>
            </a:r>
            <a:r>
              <a:t>técnico</a:t>
            </a:r>
            <a:r>
              <a:rPr sz="1200"/>
              <a:t> </a:t>
            </a:r>
            <a:endParaRPr lang="en-US" sz="1200" u="none" strike="noStrike">
              <a:effectLst/>
              <a:latin typeface="+mj-lt"/>
              <a:ea typeface="Arial" panose="020B0604020202020204" pitchFamily="34" charset="0"/>
              <a:cs typeface="Calibri Light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7901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b="1"/>
            </a:pPr>
            <a:r>
              <a:t>Chris Blount</a:t>
            </a:r>
            <a:endParaRPr lang="en-US"/>
          </a:p>
          <a:p>
            <a:pPr marL="171450" indent="-171450">
              <a:buFont typeface="Calibri"/>
              <a:buChar char="-"/>
              <a:defRPr>
                <a:solidFill>
                  <a:srgbClr val="2D2D2D"/>
                </a:solidFill>
                <a:latin typeface="Arvo"/>
              </a:defRPr>
            </a:pPr>
            <a:r>
              <a:t>De Florida, Estados Unidos</a:t>
            </a:r>
          </a:p>
          <a:p>
            <a:pPr marL="171450" indent="-171450">
              <a:buFont typeface="Calibri"/>
              <a:buChar char="-"/>
              <a:defRPr>
                <a:solidFill>
                  <a:srgbClr val="2D2D2D"/>
                </a:solidFill>
                <a:latin typeface="Arvo"/>
              </a:defRPr>
            </a:pPr>
            <a:r>
              <a:rPr>
                <a:effectLst/>
              </a:rPr>
              <a:t>Cuando estaba en la Marina de los Estados Unidos, Chris comenzó a obtener un título universitario en </a:t>
            </a:r>
            <a:r>
              <a:t>negocios internacionales</a:t>
            </a:r>
            <a:r>
              <a:rPr>
                <a:effectLst/>
              </a:rPr>
              <a:t> para convertirse en oficial</a:t>
            </a:r>
            <a:r>
              <a:t>, pero </a:t>
            </a:r>
            <a:r>
              <a:rPr>
                <a:effectLst/>
              </a:rPr>
              <a:t>ese no era su verdadero interés.</a:t>
            </a:r>
            <a:r>
              <a:t> </a:t>
            </a:r>
            <a:endParaRPr lang="en-US">
              <a:solidFill>
                <a:srgbClr val="000000"/>
              </a:solidFill>
              <a:latin typeface="Calibri" panose="020F0502020204030204"/>
              <a:cs typeface="Calibri"/>
            </a:endParaRPr>
          </a:p>
          <a:p>
            <a:pPr marL="171450" indent="-171450">
              <a:buFont typeface="Calibri"/>
              <a:buChar char="-"/>
              <a:defRPr>
                <a:solidFill>
                  <a:srgbClr val="2D2D2D"/>
                </a:solidFill>
                <a:latin typeface="Arvo"/>
              </a:defRPr>
            </a:pPr>
            <a:r>
              <a:t>"</a:t>
            </a:r>
            <a:r>
              <a:rPr>
                <a:effectLst/>
              </a:rPr>
              <a:t>No me tomé la escuela demasiado en serio, porque no estaba estudiando algo que me apasionara</a:t>
            </a:r>
            <a:r>
              <a:t>".</a:t>
            </a:r>
            <a:endParaRPr lang="en-US">
              <a:solidFill>
                <a:srgbClr val="000000"/>
              </a:solidFill>
              <a:latin typeface="Calibri" panose="020F0502020204030204"/>
              <a:cs typeface="Calibri"/>
            </a:endParaRPr>
          </a:p>
          <a:p>
            <a:pPr marL="171450" indent="-171450">
              <a:buFont typeface="Calibri"/>
              <a:buChar char="-"/>
              <a:defRPr>
                <a:solidFill>
                  <a:srgbClr val="2D2D2D"/>
                </a:solidFill>
                <a:effectLst/>
                <a:latin typeface="Arvo"/>
              </a:defRPr>
            </a:pPr>
            <a:r>
              <a:t>Cuando Chris perdió su trabajo en 2018, tuvo la oportunidad de explorar nuevas opciones, incluido el desarrollo web.</a:t>
            </a:r>
            <a:endParaRPr lang="en-US">
              <a:solidFill>
                <a:srgbClr val="000000"/>
              </a:solidFill>
              <a:latin typeface="Calibri" panose="020F0502020204030204"/>
              <a:cs typeface="Calibri"/>
            </a:endParaRPr>
          </a:p>
          <a:p>
            <a:pPr marL="171450" indent="-171450">
              <a:buFont typeface="Calibri"/>
              <a:buChar char="-"/>
              <a:defRPr>
                <a:solidFill>
                  <a:srgbClr val="2D2D2D"/>
                </a:solidFill>
                <a:effectLst/>
                <a:latin typeface="Arvo"/>
              </a:defRPr>
            </a:pPr>
            <a:r>
              <a:t>Un volante en un tablón de anuncios en su iglesia le dio a conocer BYU-Pathway, y su camino hacia una nueva carrera se puso en marcha.</a:t>
            </a:r>
            <a:endParaRPr lang="en-US">
              <a:solidFill>
                <a:srgbClr val="000000"/>
              </a:solidFill>
              <a:latin typeface="Calibri" panose="020F0502020204030204"/>
              <a:cs typeface="Calibri"/>
            </a:endParaRPr>
          </a:p>
          <a:p>
            <a:pPr marL="171450" indent="-171450">
              <a:buFont typeface="Calibri"/>
              <a:buChar char="-"/>
              <a:defRPr>
                <a:solidFill>
                  <a:srgbClr val="2D2D2D"/>
                </a:solidFill>
                <a:latin typeface="Arvo"/>
              </a:defRPr>
            </a:pPr>
            <a:r>
              <a:rPr>
                <a:effectLst/>
              </a:rPr>
              <a:t>Chris </a:t>
            </a:r>
            <a:r>
              <a:t>se había bautizado</a:t>
            </a:r>
            <a:r>
              <a:rPr>
                <a:effectLst/>
              </a:rPr>
              <a:t> como miembro de La Iglesia de Jesucristo de los Santos de los Últimos Días </a:t>
            </a:r>
            <a:r>
              <a:t>en</a:t>
            </a:r>
            <a:r>
              <a:rPr>
                <a:effectLst/>
              </a:rPr>
              <a:t> 2014, por lo que asistir a Instituto </a:t>
            </a:r>
            <a:r>
              <a:t>le ayudó a aprender mucho sobre la Iglesia y las Escrituras.</a:t>
            </a: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BBEC-FCFA-104A-A502-D7EB7C34468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12438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26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/ Small Quote (Go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34911" y="-89940"/>
            <a:ext cx="3097567" cy="70153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29335" y="1422484"/>
            <a:ext cx="2866642" cy="401303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5321508" y="1422484"/>
            <a:ext cx="6206572" cy="3228343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2800">
                <a:latin typeface="+mj-lt"/>
              </a:defRPr>
            </a:lvl1pPr>
            <a:lvl2pPr marL="182880" indent="0">
              <a:spcBef>
                <a:spcPts val="3500"/>
              </a:spcBef>
              <a:buNone/>
              <a:defRPr i="1">
                <a:latin typeface="+mj-lt"/>
              </a:defRPr>
            </a:lvl2pPr>
          </a:lstStyle>
          <a:p>
            <a:pPr lvl="0"/>
            <a:r>
              <a:rPr lang="en-US"/>
              <a:t>“Quote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321300" y="4929352"/>
            <a:ext cx="6207125" cy="506248"/>
          </a:xfrm>
        </p:spPr>
        <p:txBody>
          <a:bodyPr>
            <a:normAutofit/>
          </a:bodyPr>
          <a:lstStyle>
            <a:lvl1pPr marL="4763" indent="0">
              <a:lnSpc>
                <a:spcPct val="100000"/>
              </a:lnSpc>
              <a:spcBef>
                <a:spcPts val="0"/>
              </a:spcBef>
              <a:buNone/>
              <a:tabLst/>
              <a:defRPr sz="1600" spc="100" baseline="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4763" indent="0">
              <a:lnSpc>
                <a:spcPct val="100000"/>
              </a:lnSpc>
              <a:spcBef>
                <a:spcPts val="0"/>
              </a:spcBef>
              <a:buNone/>
              <a:tabLst/>
              <a:defRPr sz="1600" i="1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Attribution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26A8BBF-3621-614E-A8BD-63CAF9A756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9966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93C2FB-EF86-FD49-89EB-659751C1589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E74E902-04FB-F74E-8524-8E36EEAF268C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FE5B02F-84B2-374D-A5F1-4AEF59DF76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51873" y="273396"/>
            <a:ext cx="1162948" cy="811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417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E41F5D6-71C7-8540-A903-95BE29BA58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4B70C23-CE74-FE49-A806-7EA59C5E46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tretch>
            <a:fillRect/>
          </a:stretch>
        </p:blipFill>
        <p:spPr>
          <a:xfrm>
            <a:off x="2780780" y="0"/>
            <a:ext cx="807893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3616960"/>
            <a:ext cx="8759554" cy="1312075"/>
          </a:xfrm>
        </p:spPr>
        <p:txBody>
          <a:bodyPr anchor="b" anchorCtr="0"/>
          <a:lstStyle>
            <a:lvl1pPr algn="l">
              <a:defRPr sz="4800" b="0" i="0">
                <a:solidFill>
                  <a:schemeClr val="bg2">
                    <a:lumMod val="25000"/>
                  </a:schemeClr>
                </a:solidFill>
                <a:latin typeface="+mj-lt"/>
                <a:ea typeface="Roboto Slab Thin" pitchFamily="2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EB26B32-06CE-7743-B082-7648A0284080}"/>
              </a:ext>
            </a:extLst>
          </p:cNvPr>
          <p:cNvSpPr txBox="1">
            <a:spLocks/>
          </p:cNvSpPr>
          <p:nvPr userDrawn="1"/>
        </p:nvSpPr>
        <p:spPr>
          <a:xfrm>
            <a:off x="650240" y="4953000"/>
            <a:ext cx="8227542" cy="13120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i="0" kern="120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endParaRPr lang="en-US" sz="3600" b="0" i="0">
              <a:cs typeface="Open Sans" panose="020B060603050402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A921F85-DFB0-C94F-B82E-F2E18576B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6113" y="5029200"/>
            <a:ext cx="8759554" cy="1238250"/>
          </a:xfrm>
        </p:spPr>
        <p:txBody>
          <a:bodyPr anchor="t" anchorCtr="0"/>
          <a:lstStyle>
            <a:lvl1pPr marL="0" indent="0">
              <a:buNone/>
              <a:defRPr sz="3200" b="0" i="1">
                <a:solidFill>
                  <a:schemeClr val="bg2">
                    <a:lumMod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sub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46D4E3C-7F9C-880F-4424-22C22CA6065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1330" y="590551"/>
            <a:ext cx="2299450" cy="143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4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S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4F5234B-206E-8947-ACA6-B098E14C8FB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A3D6B5A-383E-41D5-8F77-DB7ACDD451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60540" y="2597744"/>
            <a:ext cx="2670921" cy="166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338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E41F5D6-71C7-8540-A903-95BE29BA58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4B70C23-CE74-FE49-A806-7EA59C5E46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tretch>
            <a:fillRect/>
          </a:stretch>
        </p:blipFill>
        <p:spPr>
          <a:xfrm>
            <a:off x="2782206" y="0"/>
            <a:ext cx="807893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3616960"/>
            <a:ext cx="8227542" cy="1312075"/>
          </a:xfrm>
        </p:spPr>
        <p:txBody>
          <a:bodyPr anchor="b" anchorCtr="0"/>
          <a:lstStyle>
            <a:lvl1pPr algn="l">
              <a:defRPr sz="54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EB26B32-06CE-7743-B082-7648A0284080}"/>
              </a:ext>
            </a:extLst>
          </p:cNvPr>
          <p:cNvSpPr txBox="1">
            <a:spLocks/>
          </p:cNvSpPr>
          <p:nvPr userDrawn="1"/>
        </p:nvSpPr>
        <p:spPr>
          <a:xfrm>
            <a:off x="650240" y="4953000"/>
            <a:ext cx="8227542" cy="13120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i="0" kern="120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endParaRPr lang="en-US" sz="3600" i="1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A921F85-DFB0-C94F-B82E-F2E18576B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6113" y="5029200"/>
            <a:ext cx="8251825" cy="1238250"/>
          </a:xfrm>
        </p:spPr>
        <p:txBody>
          <a:bodyPr anchor="t" anchorCtr="0"/>
          <a:lstStyle>
            <a:lvl1pPr marL="0" indent="0">
              <a:buNone/>
              <a:defRPr sz="3200" i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sub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891D32A-21E9-02EB-DAAD-CED32F313B7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3160" y="740314"/>
            <a:ext cx="2220647" cy="1382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4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D600153-8EBE-D644-84CE-423CC7DBB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E41F5D6-71C7-8540-A903-95BE29BA58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7000">
                <a:schemeClr val="accent1">
                  <a:alpha val="90000"/>
                </a:schemeClr>
              </a:gs>
              <a:gs pos="99000">
                <a:schemeClr val="accent1">
                  <a:alpha val="2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3616960"/>
            <a:ext cx="8227542" cy="1312075"/>
          </a:xfrm>
        </p:spPr>
        <p:txBody>
          <a:bodyPr anchor="b" anchorCtr="0"/>
          <a:lstStyle>
            <a:lvl1pPr algn="l">
              <a:defRPr sz="54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31E2702E-14ED-A049-8014-3B706337914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111" y="740314"/>
            <a:ext cx="2220647" cy="1553708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EB26B32-06CE-7743-B082-7648A0284080}"/>
              </a:ext>
            </a:extLst>
          </p:cNvPr>
          <p:cNvSpPr txBox="1">
            <a:spLocks/>
          </p:cNvSpPr>
          <p:nvPr userDrawn="1"/>
        </p:nvSpPr>
        <p:spPr>
          <a:xfrm>
            <a:off x="650240" y="4953000"/>
            <a:ext cx="8227542" cy="13120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i="0" kern="120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endParaRPr lang="en-US" sz="3600" i="1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A921F85-DFB0-C94F-B82E-F2E18576B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6113" y="5029200"/>
            <a:ext cx="8251825" cy="1238250"/>
          </a:xfrm>
        </p:spPr>
        <p:txBody>
          <a:bodyPr anchor="t" anchorCtr="0"/>
          <a:lstStyle>
            <a:lvl1pPr marL="0" indent="0">
              <a:buNone/>
              <a:defRPr sz="3200" i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sub title</a:t>
            </a:r>
          </a:p>
        </p:txBody>
      </p:sp>
    </p:spTree>
    <p:extLst>
      <p:ext uri="{BB962C8B-B14F-4D97-AF65-F5344CB8AC3E}">
        <p14:creationId xmlns:p14="http://schemas.microsoft.com/office/powerpoint/2010/main" val="306758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Op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6E58B8C-779F-184B-97E6-77B9C082B6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2" y="4443413"/>
            <a:ext cx="12192000" cy="1914525"/>
          </a:xfrm>
          <a:prstGeom prst="rect">
            <a:avLst/>
          </a:prstGeom>
          <a:noFill/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463924" y="4795479"/>
            <a:ext cx="6333017" cy="848085"/>
          </a:xfrm>
        </p:spPr>
        <p:txBody>
          <a:bodyPr/>
          <a:lstStyle>
            <a:lvl1pPr marL="0" indent="0" algn="r">
              <a:buNone/>
              <a:defRPr sz="4400" b="0" i="0">
                <a:solidFill>
                  <a:schemeClr val="bg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294459" y="5688921"/>
            <a:ext cx="3443288" cy="577850"/>
          </a:xfrm>
        </p:spPr>
        <p:txBody>
          <a:bodyPr/>
          <a:lstStyle>
            <a:lvl1pPr marL="0" indent="0" algn="r">
              <a:buNone/>
              <a:defRPr sz="2200" b="0" i="1">
                <a:solidFill>
                  <a:schemeClr val="bg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ubhead or Dat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5463924" y="5566679"/>
            <a:ext cx="6267235" cy="308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04B8D28-42EA-6143-800E-36A8631DDDED}"/>
              </a:ext>
            </a:extLst>
          </p:cNvPr>
          <p:cNvSpPr/>
          <p:nvPr userDrawn="1"/>
        </p:nvSpPr>
        <p:spPr>
          <a:xfrm>
            <a:off x="-20514" y="4443413"/>
            <a:ext cx="2212094" cy="191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3CD76B4-22F5-3E47-AA52-453C44E95A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616" y="4892040"/>
            <a:ext cx="1464537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55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Op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2C3C990-91EF-DB46-9027-FA2760C96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036" y="-27432"/>
            <a:ext cx="12206036" cy="688543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E41F5D6-71C7-8540-A903-95BE29BA58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7000">
                <a:schemeClr val="accent1">
                  <a:alpha val="90000"/>
                </a:schemeClr>
              </a:gs>
              <a:gs pos="99000">
                <a:schemeClr val="accent1">
                  <a:alpha val="2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3616960"/>
            <a:ext cx="8227542" cy="1312075"/>
          </a:xfrm>
        </p:spPr>
        <p:txBody>
          <a:bodyPr anchor="b" anchorCtr="0"/>
          <a:lstStyle>
            <a:lvl1pPr algn="l">
              <a:defRPr sz="54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31E2702E-14ED-A049-8014-3B706337914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111" y="740314"/>
            <a:ext cx="2220647" cy="1553708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EB26B32-06CE-7743-B082-7648A0284080}"/>
              </a:ext>
            </a:extLst>
          </p:cNvPr>
          <p:cNvSpPr txBox="1">
            <a:spLocks/>
          </p:cNvSpPr>
          <p:nvPr userDrawn="1"/>
        </p:nvSpPr>
        <p:spPr>
          <a:xfrm>
            <a:off x="650240" y="4953000"/>
            <a:ext cx="8227542" cy="13120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i="0" kern="120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endParaRPr lang="en-US" sz="3600" i="1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A921F85-DFB0-C94F-B82E-F2E18576B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6113" y="5029200"/>
            <a:ext cx="8251825" cy="1238250"/>
          </a:xfrm>
        </p:spPr>
        <p:txBody>
          <a:bodyPr anchor="t" anchorCtr="0"/>
          <a:lstStyle>
            <a:lvl1pPr marL="0" indent="0">
              <a:buNone/>
              <a:defRPr sz="3200" i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sub title</a:t>
            </a:r>
          </a:p>
        </p:txBody>
      </p:sp>
    </p:spTree>
    <p:extLst>
      <p:ext uri="{BB962C8B-B14F-4D97-AF65-F5344CB8AC3E}">
        <p14:creationId xmlns:p14="http://schemas.microsoft.com/office/powerpoint/2010/main" val="252937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5095"/>
            <a:ext cx="9560560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10972800" cy="4648199"/>
          </a:xfrm>
        </p:spPr>
        <p:txBody>
          <a:bodyPr anchor="t" anchorCtr="0"/>
          <a:lstStyle>
            <a:lvl1pPr>
              <a:buNone/>
              <a:defRPr sz="2400"/>
            </a:lvl1pPr>
            <a:lvl3pPr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F4440FD-3414-374B-A9AC-A45E138B26C4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B775829-8C77-2C40-91ED-842FD4C951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51873" y="273396"/>
            <a:ext cx="1162948" cy="811722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14A4EFA-8C19-2E47-B95C-A64B7FFD6716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6832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 userDrawn="1">
          <p15:clr>
            <a:srgbClr val="FBAE40"/>
          </p15:clr>
        </p15:guide>
        <p15:guide id="2" pos="384" userDrawn="1">
          <p15:clr>
            <a:srgbClr val="FBAE40"/>
          </p15:clr>
        </p15:guide>
        <p15:guide id="3" pos="7296" userDrawn="1">
          <p15:clr>
            <a:srgbClr val="FBAE40"/>
          </p15:clr>
        </p15:guide>
        <p15:guide id="4" orient="horz" pos="3912" userDrawn="1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around each other&#10;&#10;Description automatically generated">
            <a:extLst>
              <a:ext uri="{FF2B5EF4-FFF2-40B4-BE49-F238E27FC236}">
                <a16:creationId xmlns:a16="http://schemas.microsoft.com/office/drawing/2014/main" id="{46E58B8C-779F-184B-97E6-77B9C082B6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2" y="4443413"/>
            <a:ext cx="12192000" cy="1914525"/>
          </a:xfrm>
          <a:prstGeom prst="rect">
            <a:avLst/>
          </a:prstGeom>
          <a:noFill/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463924" y="4795479"/>
            <a:ext cx="6333017" cy="848085"/>
          </a:xfrm>
        </p:spPr>
        <p:txBody>
          <a:bodyPr/>
          <a:lstStyle>
            <a:lvl1pPr marL="0" indent="0" algn="r">
              <a:buNone/>
              <a:defRPr sz="4400" b="0" i="0">
                <a:solidFill>
                  <a:schemeClr val="bg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294459" y="5688921"/>
            <a:ext cx="3443288" cy="577850"/>
          </a:xfrm>
        </p:spPr>
        <p:txBody>
          <a:bodyPr/>
          <a:lstStyle>
            <a:lvl1pPr marL="0" indent="0" algn="r">
              <a:buNone/>
              <a:defRPr sz="2200" b="0" i="1">
                <a:solidFill>
                  <a:schemeClr val="bg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ubhead or Dat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5463924" y="5566679"/>
            <a:ext cx="6267235" cy="308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04B8D28-42EA-6143-800E-36A8631DDDED}"/>
              </a:ext>
            </a:extLst>
          </p:cNvPr>
          <p:cNvSpPr/>
          <p:nvPr userDrawn="1"/>
        </p:nvSpPr>
        <p:spPr>
          <a:xfrm>
            <a:off x="-20514" y="4443413"/>
            <a:ext cx="2212094" cy="191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7EE6BAF-86B0-E654-40C3-B24271A5435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3292" y="4857750"/>
            <a:ext cx="1744481" cy="1085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81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D600153-8EBE-D644-84CE-423CC7DBB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E41F5D6-71C7-8540-A903-95BE29BA58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7000">
                <a:schemeClr val="accent1">
                  <a:alpha val="90000"/>
                </a:schemeClr>
              </a:gs>
              <a:gs pos="99000">
                <a:schemeClr val="accent1">
                  <a:alpha val="2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3616960"/>
            <a:ext cx="8227542" cy="1312075"/>
          </a:xfrm>
        </p:spPr>
        <p:txBody>
          <a:bodyPr anchor="b" anchorCtr="0"/>
          <a:lstStyle>
            <a:lvl1pPr algn="l">
              <a:defRPr sz="5400" b="0" i="0">
                <a:solidFill>
                  <a:schemeClr val="bg2">
                    <a:lumMod val="25000"/>
                  </a:schemeClr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EB26B32-06CE-7743-B082-7648A0284080}"/>
              </a:ext>
            </a:extLst>
          </p:cNvPr>
          <p:cNvSpPr txBox="1">
            <a:spLocks/>
          </p:cNvSpPr>
          <p:nvPr userDrawn="1"/>
        </p:nvSpPr>
        <p:spPr>
          <a:xfrm>
            <a:off x="650240" y="4953000"/>
            <a:ext cx="8227542" cy="13120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i="0" kern="120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endParaRPr lang="en-US" sz="3600" i="1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A921F85-DFB0-C94F-B82E-F2E18576B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6113" y="5029200"/>
            <a:ext cx="8251825" cy="1238250"/>
          </a:xfrm>
        </p:spPr>
        <p:txBody>
          <a:bodyPr anchor="t" anchorCtr="0"/>
          <a:lstStyle>
            <a:lvl1pPr marL="0" indent="0">
              <a:buNone/>
              <a:defRPr sz="3200" i="1">
                <a:solidFill>
                  <a:schemeClr val="bg2">
                    <a:lumMod val="25000"/>
                  </a:schemeClr>
                </a:solidFill>
                <a:latin typeface="+mj-lt"/>
              </a:defRPr>
            </a:lvl1pPr>
            <a:lvl2pPr marL="457200" indent="0"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sub tit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D5B4C1B-8876-3431-273A-2A183C6649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1330" y="590551"/>
            <a:ext cx="2299450" cy="143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567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Op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6E58B8C-779F-184B-97E6-77B9C082B6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2" y="4443413"/>
            <a:ext cx="12192000" cy="1914525"/>
          </a:xfrm>
          <a:prstGeom prst="rect">
            <a:avLst/>
          </a:prstGeom>
          <a:noFill/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463924" y="4795479"/>
            <a:ext cx="6333017" cy="848085"/>
          </a:xfrm>
        </p:spPr>
        <p:txBody>
          <a:bodyPr/>
          <a:lstStyle>
            <a:lvl1pPr marL="0" indent="0" algn="r">
              <a:buNone/>
              <a:defRPr sz="4400" b="0" i="0">
                <a:solidFill>
                  <a:schemeClr val="bg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294459" y="5688921"/>
            <a:ext cx="3443288" cy="577850"/>
          </a:xfrm>
        </p:spPr>
        <p:txBody>
          <a:bodyPr/>
          <a:lstStyle>
            <a:lvl1pPr marL="0" indent="0" algn="r">
              <a:buNone/>
              <a:defRPr sz="2200" b="0" i="1">
                <a:solidFill>
                  <a:schemeClr val="bg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ubhead or Dat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5463924" y="5566679"/>
            <a:ext cx="6267235" cy="308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04B8D28-42EA-6143-800E-36A8631DDDED}"/>
              </a:ext>
            </a:extLst>
          </p:cNvPr>
          <p:cNvSpPr/>
          <p:nvPr userDrawn="1"/>
        </p:nvSpPr>
        <p:spPr>
          <a:xfrm>
            <a:off x="-20514" y="4443413"/>
            <a:ext cx="2212094" cy="191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D56747C-94AA-A8D7-4CC8-F7BD2D7615D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3292" y="4857750"/>
            <a:ext cx="1744481" cy="1085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225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Op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2C3C990-91EF-DB46-9027-FA2760C96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036" y="-27432"/>
            <a:ext cx="12206036" cy="688543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E41F5D6-71C7-8540-A903-95BE29BA58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7000">
                <a:schemeClr val="accent1">
                  <a:alpha val="90000"/>
                </a:schemeClr>
              </a:gs>
              <a:gs pos="99000">
                <a:schemeClr val="accent1">
                  <a:alpha val="2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3616960"/>
            <a:ext cx="8227542" cy="1312075"/>
          </a:xfrm>
        </p:spPr>
        <p:txBody>
          <a:bodyPr anchor="b" anchorCtr="0"/>
          <a:lstStyle>
            <a:lvl1pPr algn="l">
              <a:defRPr sz="5400" b="0" i="0">
                <a:solidFill>
                  <a:schemeClr val="bg2">
                    <a:lumMod val="25000"/>
                  </a:schemeClr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EB26B32-06CE-7743-B082-7648A0284080}"/>
              </a:ext>
            </a:extLst>
          </p:cNvPr>
          <p:cNvSpPr txBox="1">
            <a:spLocks/>
          </p:cNvSpPr>
          <p:nvPr userDrawn="1"/>
        </p:nvSpPr>
        <p:spPr>
          <a:xfrm>
            <a:off x="650240" y="4953000"/>
            <a:ext cx="8227542" cy="13120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i="0" kern="120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endParaRPr lang="en-US" sz="3600" i="1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A921F85-DFB0-C94F-B82E-F2E18576B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6113" y="5029200"/>
            <a:ext cx="8251825" cy="1238250"/>
          </a:xfrm>
        </p:spPr>
        <p:txBody>
          <a:bodyPr anchor="t" anchorCtr="0"/>
          <a:lstStyle>
            <a:lvl1pPr marL="0" indent="0">
              <a:buNone/>
              <a:defRPr sz="3200" i="1">
                <a:solidFill>
                  <a:schemeClr val="bg2">
                    <a:lumMod val="25000"/>
                  </a:schemeClr>
                </a:solidFill>
                <a:latin typeface="+mj-lt"/>
              </a:defRPr>
            </a:lvl1pPr>
            <a:lvl2pPr marL="457200" indent="0"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sub tit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26BC9CF-C5C7-19C0-E4BC-F30A5B0798A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1330" y="590551"/>
            <a:ext cx="2299450" cy="143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380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around each other&#10;&#10;Description automatically generated">
            <a:extLst>
              <a:ext uri="{FF2B5EF4-FFF2-40B4-BE49-F238E27FC236}">
                <a16:creationId xmlns:a16="http://schemas.microsoft.com/office/drawing/2014/main" id="{46E58B8C-779F-184B-97E6-77B9C082B6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2" y="4443413"/>
            <a:ext cx="12192000" cy="1914525"/>
          </a:xfrm>
          <a:prstGeom prst="rect">
            <a:avLst/>
          </a:prstGeom>
          <a:noFill/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463924" y="4795479"/>
            <a:ext cx="6333017" cy="848085"/>
          </a:xfrm>
        </p:spPr>
        <p:txBody>
          <a:bodyPr/>
          <a:lstStyle>
            <a:lvl1pPr marL="0" indent="0" algn="r">
              <a:buNone/>
              <a:defRPr sz="4400" b="0" i="0">
                <a:solidFill>
                  <a:schemeClr val="bg2"/>
                </a:solidFill>
                <a:latin typeface="+mj-lt"/>
                <a:ea typeface="Roboto Slab Light" pitchFamily="2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294459" y="5688921"/>
            <a:ext cx="3443288" cy="577850"/>
          </a:xfrm>
        </p:spPr>
        <p:txBody>
          <a:bodyPr/>
          <a:lstStyle>
            <a:lvl1pPr marL="0" indent="0" algn="r">
              <a:buNone/>
              <a:defRPr sz="2200" b="0" i="1">
                <a:solidFill>
                  <a:schemeClr val="bg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ubhead or Dat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5463924" y="5566679"/>
            <a:ext cx="6267235" cy="308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04B8D28-42EA-6143-800E-36A8631DDDED}"/>
              </a:ext>
            </a:extLst>
          </p:cNvPr>
          <p:cNvSpPr/>
          <p:nvPr userDrawn="1"/>
        </p:nvSpPr>
        <p:spPr>
          <a:xfrm>
            <a:off x="-20514" y="4443413"/>
            <a:ext cx="2212094" cy="191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7EE6BAF-86B0-E654-40C3-B24271A5435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3292" y="4857750"/>
            <a:ext cx="1744481" cy="1085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16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lumn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25120"/>
            <a:ext cx="9469120" cy="56896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10972800" cy="4648199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F4440FD-3414-374B-A9AC-A45E138B26C4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14A4EFA-8C19-2E47-B95C-A64B7FFD6716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D253C39-5D5C-0942-AF66-9A859B409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965200"/>
            <a:ext cx="9490075" cy="284163"/>
          </a:xfrm>
        </p:spPr>
        <p:txBody>
          <a:bodyPr/>
          <a:lstStyle>
            <a:lvl1pPr marL="0" indent="0">
              <a:buNone/>
              <a:defRPr i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i="1"/>
              <a:t>Click to edit subtitle style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0B7DE28-5581-D231-8115-332BCBBA55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745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3912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lumn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10972800" cy="4648199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F4440FD-3414-374B-A9AC-A45E138B26C4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14A4EFA-8C19-2E47-B95C-A64B7FFD6716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5CBDB16C-FCE1-654B-A8B0-03B0C3BDA9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320"/>
            <a:ext cx="9469120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73B8F32-84C1-6145-9135-8814C97CD2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792480"/>
            <a:ext cx="9490075" cy="426403"/>
          </a:xfrm>
        </p:spPr>
        <p:txBody>
          <a:bodyPr/>
          <a:lstStyle>
            <a:lvl1pPr marL="0" indent="0">
              <a:buNone/>
              <a:defRPr i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7F8071D-62CF-B3AA-6EB8-2933D34072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069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3912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9FEABE-3AFB-8149-8319-459E7E20C7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Click to 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Second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Third level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5075194-28C8-6C42-A983-2C98652AC99E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27732" y="1576715"/>
            <a:ext cx="5254668" cy="4614862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01BFFE-8BB7-C54B-B1C7-E8CEFEC397A4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10" name="Picture 11">
            <a:extLst>
              <a:ext uri="{FF2B5EF4-FFF2-40B4-BE49-F238E27FC236}">
                <a16:creationId xmlns:a16="http://schemas.microsoft.com/office/drawing/2014/main" id="{BCA1DC40-FDAC-B940-A9B4-B7907DF4D8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51873" y="273396"/>
            <a:ext cx="1162948" cy="811722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81F3A1-E986-E642-A06A-620E378A355F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42501A62-76E2-DD4B-90E6-E5FE9B329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320"/>
            <a:ext cx="9469120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5DAB394-EDF1-5D48-920C-20021D8EF0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2480"/>
            <a:ext cx="9490075" cy="426403"/>
          </a:xfrm>
        </p:spPr>
        <p:txBody>
          <a:bodyPr/>
          <a:lstStyle>
            <a:lvl1pPr marL="0" indent="0">
              <a:buNone/>
              <a:defRPr i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5512968-4978-084F-B07F-3A66CB1321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4935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385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9FEABE-3AFB-8149-8319-459E7E20C7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Click to 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Second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Third level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5075194-28C8-6C42-A983-2C98652AC99E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27732" y="1576715"/>
            <a:ext cx="5254668" cy="4614862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01BFFE-8BB7-C54B-B1C7-E8CEFEC397A4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790DA94-B1B1-F540-B236-89961D005175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5149A5D1-1E27-3449-8A9D-C212D7E5C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5095"/>
            <a:ext cx="9499600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C87D7E4-C7D3-33A6-C205-BF49A873BF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604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9FEABE-3AFB-8149-8319-459E7E20C7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Click to 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Second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Third level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5075194-28C8-6C42-A983-2C98652AC99E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27732" y="1576715"/>
            <a:ext cx="5254668" cy="4614862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01BFFE-8BB7-C54B-B1C7-E8CEFEC397A4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81F3A1-E986-E642-A06A-620E378A355F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42501A62-76E2-DD4B-90E6-E5FE9B329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320"/>
            <a:ext cx="9469120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5DAB394-EDF1-5D48-920C-20021D8EF0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2480"/>
            <a:ext cx="9490075" cy="426403"/>
          </a:xfrm>
        </p:spPr>
        <p:txBody>
          <a:bodyPr/>
          <a:lstStyle>
            <a:lvl1pPr marL="0" indent="0">
              <a:buNone/>
              <a:defRPr i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A73EDE9-E753-AC30-F3A1-835BB1888E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260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0F0C48C-6419-E542-9E66-3B49E2C31F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12AFBBA-0440-664F-9718-A67967B2629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9928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6D8D87D-5760-5145-A3C9-CE4D5B30DC7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8896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9D7C00-1E28-464B-8EF2-9AE735767BD5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721B0F-1544-B342-8ED3-E88A03FB306F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945F7755-2DA8-0A4A-B346-37B838F8F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5095"/>
            <a:ext cx="9499600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5654BFD-DB60-606E-0651-61D9A7EC8F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64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3912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0F0C48C-6419-E542-9E66-3B49E2C31F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12AFBBA-0440-664F-9718-A67967B2629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9928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6D8D87D-5760-5145-A3C9-CE4D5B30DC7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8896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9D7C00-1E28-464B-8EF2-9AE735767BD5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3832153-8289-6948-9B14-0F51FAF7A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25120"/>
            <a:ext cx="9469120" cy="56896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443D2C-157D-5A47-A20F-2B23B6782CE1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4BF11BC-523B-124E-8A1E-C9ADCE3E1B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965200"/>
            <a:ext cx="9490075" cy="284163"/>
          </a:xfrm>
        </p:spPr>
        <p:txBody>
          <a:bodyPr/>
          <a:lstStyle>
            <a:lvl1pPr marL="0" indent="0">
              <a:buNone/>
              <a:defRPr i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i="1"/>
              <a:t>Click to edit subtitl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3BDBEED-4242-B3D2-0C81-52E8F6D36C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097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3912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0F0C48C-6419-E542-9E66-3B49E2C31F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12AFBBA-0440-664F-9718-A67967B2629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9928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6D8D87D-5760-5145-A3C9-CE4D5B30DC7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8896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9D7C00-1E28-464B-8EF2-9AE735767BD5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443D2C-157D-5A47-A20F-2B23B6782CE1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7BB336AE-C178-AC43-84E5-33C29412B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320"/>
            <a:ext cx="9469120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53D86292-7698-6646-8991-2844CE386B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792480"/>
            <a:ext cx="9490075" cy="426403"/>
          </a:xfrm>
        </p:spPr>
        <p:txBody>
          <a:bodyPr/>
          <a:lstStyle>
            <a:lvl1pPr marL="0" indent="0">
              <a:buNone/>
              <a:defRPr i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3816E19-81FB-E44B-A0FC-08B5482069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42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3912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kinny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2471" y="1562100"/>
            <a:ext cx="6859930" cy="4614863"/>
          </a:xfrm>
        </p:spPr>
        <p:txBody>
          <a:bodyPr anchor="t" anchorCtr="0"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0"/>
            <a:ext cx="3789363" cy="6192838"/>
          </a:xfrm>
        </p:spPr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24C16E0-92CF-6F41-9635-C97091D349D8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9D72E9D-EE6F-134E-B5A9-2FB8729C9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399" y="175095"/>
            <a:ext cx="5009909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21C70C-B746-1148-A493-2776B1A321A0}"/>
              </a:ext>
            </a:extLst>
          </p:cNvPr>
          <p:cNvCxnSpPr>
            <a:cxnSpLocks/>
          </p:cNvCxnSpPr>
          <p:nvPr userDrawn="1"/>
        </p:nvCxnSpPr>
        <p:spPr>
          <a:xfrm>
            <a:off x="4724400" y="1356038"/>
            <a:ext cx="5760720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E2DF696C-F86A-E6FD-52C3-E5DBA17269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781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12">
          <p15:clr>
            <a:srgbClr val="FBAE40"/>
          </p15:clr>
        </p15:guide>
        <p15:guide id="2" pos="384">
          <p15:clr>
            <a:srgbClr val="FBAE40"/>
          </p15:clr>
        </p15:guide>
        <p15:guide id="3" pos="2784">
          <p15:clr>
            <a:srgbClr val="FBAE40"/>
          </p15:clr>
        </p15:guide>
        <p15:guide id="4" orient="horz" pos="984">
          <p15:clr>
            <a:srgbClr val="FBAE40"/>
          </p15:clr>
        </p15:guide>
        <p15:guide id="5" pos="2976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kinny Photo Lef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2471" y="1562100"/>
            <a:ext cx="6859930" cy="4614863"/>
          </a:xfrm>
        </p:spPr>
        <p:txBody>
          <a:bodyPr anchor="t" anchorCtr="0"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0"/>
            <a:ext cx="3789363" cy="6192838"/>
          </a:xfrm>
        </p:spPr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24C16E0-92CF-6F41-9635-C97091D349D8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21C70C-B746-1148-A493-2776B1A321A0}"/>
              </a:ext>
            </a:extLst>
          </p:cNvPr>
          <p:cNvCxnSpPr>
            <a:cxnSpLocks/>
          </p:cNvCxnSpPr>
          <p:nvPr userDrawn="1"/>
        </p:nvCxnSpPr>
        <p:spPr>
          <a:xfrm>
            <a:off x="4724400" y="1356038"/>
            <a:ext cx="5760720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949EA303-5278-A449-9440-6A0F1B3BBD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400" y="325120"/>
            <a:ext cx="5354320" cy="56896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EDDC8735-3449-B949-BDF8-6A201B956E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4400" y="965200"/>
            <a:ext cx="5375275" cy="284163"/>
          </a:xfrm>
        </p:spPr>
        <p:txBody>
          <a:bodyPr/>
          <a:lstStyle>
            <a:lvl1pPr marL="0" indent="0">
              <a:buNone/>
              <a:defRPr i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i="1"/>
              <a:t>Click to edit subtitl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21EEE9-C726-9AEB-F8C8-BFE321119D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502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12">
          <p15:clr>
            <a:srgbClr val="FBAE40"/>
          </p15:clr>
        </p15:guide>
        <p15:guide id="2" pos="384">
          <p15:clr>
            <a:srgbClr val="FBAE40"/>
          </p15:clr>
        </p15:guide>
        <p15:guide id="3" pos="2784">
          <p15:clr>
            <a:srgbClr val="FBAE40"/>
          </p15:clr>
        </p15:guide>
        <p15:guide id="4" orient="horz" pos="984">
          <p15:clr>
            <a:srgbClr val="FBAE40"/>
          </p15:clr>
        </p15:guide>
        <p15:guide id="5" pos="2976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D600153-8EBE-D644-84CE-423CC7DBB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E41F5D6-71C7-8540-A903-95BE29BA58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7000">
                <a:schemeClr val="accent1">
                  <a:alpha val="90000"/>
                </a:schemeClr>
              </a:gs>
              <a:gs pos="99000">
                <a:schemeClr val="accent1">
                  <a:alpha val="2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3616960"/>
            <a:ext cx="8605520" cy="1312075"/>
          </a:xfrm>
        </p:spPr>
        <p:txBody>
          <a:bodyPr anchor="b" anchorCtr="0"/>
          <a:lstStyle>
            <a:lvl1pPr algn="l">
              <a:defRPr sz="4800" b="0" i="0">
                <a:solidFill>
                  <a:schemeClr val="bg2">
                    <a:lumMod val="25000"/>
                  </a:schemeClr>
                </a:solidFill>
                <a:latin typeface="+mj-lt"/>
                <a:ea typeface="Roboto Slab Light" pitchFamily="2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EB26B32-06CE-7743-B082-7648A0284080}"/>
              </a:ext>
            </a:extLst>
          </p:cNvPr>
          <p:cNvSpPr txBox="1">
            <a:spLocks/>
          </p:cNvSpPr>
          <p:nvPr userDrawn="1"/>
        </p:nvSpPr>
        <p:spPr>
          <a:xfrm>
            <a:off x="650240" y="4953000"/>
            <a:ext cx="8227542" cy="13120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i="0" kern="120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endParaRPr lang="en-US" sz="3600" b="0" i="0">
              <a:cs typeface="Open Sans" panose="020B060603050402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A921F85-DFB0-C94F-B82E-F2E18576B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6113" y="5029200"/>
            <a:ext cx="8251825" cy="1238250"/>
          </a:xfrm>
        </p:spPr>
        <p:txBody>
          <a:bodyPr anchor="t" anchorCtr="0"/>
          <a:lstStyle>
            <a:lvl1pPr marL="0" indent="0">
              <a:buNone/>
              <a:defRPr sz="3200" b="0" i="1">
                <a:solidFill>
                  <a:schemeClr val="bg2">
                    <a:lumMod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sub tit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D5B4C1B-8876-3431-273A-2A183C6649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1330" y="590551"/>
            <a:ext cx="2299450" cy="143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58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kinny Photo Left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2471" y="1562100"/>
            <a:ext cx="6859930" cy="4614863"/>
          </a:xfrm>
        </p:spPr>
        <p:txBody>
          <a:bodyPr anchor="t" anchorCtr="0"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0"/>
            <a:ext cx="3789363" cy="6192838"/>
          </a:xfrm>
        </p:spPr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24C16E0-92CF-6F41-9635-C97091D349D8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21C70C-B746-1148-A493-2776B1A321A0}"/>
              </a:ext>
            </a:extLst>
          </p:cNvPr>
          <p:cNvCxnSpPr>
            <a:cxnSpLocks/>
          </p:cNvCxnSpPr>
          <p:nvPr userDrawn="1"/>
        </p:nvCxnSpPr>
        <p:spPr>
          <a:xfrm>
            <a:off x="4724400" y="1356038"/>
            <a:ext cx="5760720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53DC57D1-818A-3B48-9EFC-82C14F8DA9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400" y="274320"/>
            <a:ext cx="5354320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76E6F74-E1C4-B548-9A47-4B556FD862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33506" y="792480"/>
            <a:ext cx="5366169" cy="426403"/>
          </a:xfrm>
        </p:spPr>
        <p:txBody>
          <a:bodyPr/>
          <a:lstStyle>
            <a:lvl1pPr marL="0" indent="0">
              <a:buNone/>
              <a:defRPr i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CD6FAC8-E1F2-F235-5D9C-4C9B705CDB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728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12">
          <p15:clr>
            <a:srgbClr val="FBAE40"/>
          </p15:clr>
        </p15:guide>
        <p15:guide id="2" pos="384">
          <p15:clr>
            <a:srgbClr val="FBAE40"/>
          </p15:clr>
        </p15:guide>
        <p15:guide id="3" pos="2784">
          <p15:clr>
            <a:srgbClr val="FBAE40"/>
          </p15:clr>
        </p15:guide>
        <p15:guide id="4" orient="horz" pos="984">
          <p15:clr>
            <a:srgbClr val="FBAE40"/>
          </p15:clr>
        </p15:guide>
        <p15:guide id="5" pos="2976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5075194-28C8-6C42-A983-2C98652AC99E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27732" y="1576715"/>
            <a:ext cx="5254668" cy="4614862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01BFFE-8BB7-C54B-B1C7-E8CEFEC397A4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10" name="Picture 11">
            <a:extLst>
              <a:ext uri="{FF2B5EF4-FFF2-40B4-BE49-F238E27FC236}">
                <a16:creationId xmlns:a16="http://schemas.microsoft.com/office/drawing/2014/main" id="{BCA1DC40-FDAC-B940-A9B4-B7907DF4D8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51873" y="273396"/>
            <a:ext cx="1162948" cy="81172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790DA94-B1B1-F540-B236-89961D005175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D86E4034-9D61-EC4D-A877-769A880B9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5095"/>
            <a:ext cx="9560560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664BBB1-950C-3F47-9EAE-2C41ACD6BDEB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17812" y="1586875"/>
            <a:ext cx="5254668" cy="4614862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1323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 userDrawn="1">
          <p15:clr>
            <a:srgbClr val="FBAE40"/>
          </p15:clr>
        </p15:guide>
        <p15:guide id="2" pos="384" userDrawn="1">
          <p15:clr>
            <a:srgbClr val="FBAE40"/>
          </p15:clr>
        </p15:guide>
        <p15:guide id="3" orient="horz" pos="3912" userDrawn="1">
          <p15:clr>
            <a:srgbClr val="FBAE40"/>
          </p15:clr>
        </p15:guide>
        <p15:guide id="4" pos="7296" userDrawn="1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E41F5D6-71C7-8540-A903-95BE29BA58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4B70C23-CE74-FE49-A806-7EA59C5E46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tretch>
            <a:fillRect/>
          </a:stretch>
        </p:blipFill>
        <p:spPr>
          <a:xfrm>
            <a:off x="2782206" y="0"/>
            <a:ext cx="807893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3616960"/>
            <a:ext cx="8227542" cy="1312075"/>
          </a:xfrm>
        </p:spPr>
        <p:txBody>
          <a:bodyPr anchor="b" anchorCtr="0"/>
          <a:lstStyle>
            <a:lvl1pPr algn="l">
              <a:defRPr sz="54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31E2702E-14ED-A049-8014-3B706337914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111" y="740314"/>
            <a:ext cx="2220647" cy="1553708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EB26B32-06CE-7743-B082-7648A0284080}"/>
              </a:ext>
            </a:extLst>
          </p:cNvPr>
          <p:cNvSpPr txBox="1">
            <a:spLocks/>
          </p:cNvSpPr>
          <p:nvPr userDrawn="1"/>
        </p:nvSpPr>
        <p:spPr>
          <a:xfrm>
            <a:off x="650240" y="4953000"/>
            <a:ext cx="8227542" cy="13120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i="0" kern="120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endParaRPr lang="en-US" sz="3600" i="1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A921F85-DFB0-C94F-B82E-F2E18576B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6113" y="5029200"/>
            <a:ext cx="8251825" cy="1238250"/>
          </a:xfrm>
        </p:spPr>
        <p:txBody>
          <a:bodyPr anchor="t" anchorCtr="0"/>
          <a:lstStyle>
            <a:lvl1pPr marL="0" indent="0">
              <a:buNone/>
              <a:defRPr sz="3200" i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sub title</a:t>
            </a:r>
          </a:p>
        </p:txBody>
      </p:sp>
    </p:spTree>
    <p:extLst>
      <p:ext uri="{BB962C8B-B14F-4D97-AF65-F5344CB8AC3E}">
        <p14:creationId xmlns:p14="http://schemas.microsoft.com/office/powerpoint/2010/main" val="51094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(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43932DE-E5D4-BC4D-BF53-046E2F877CF3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5" name="Picture 11">
            <a:extLst>
              <a:ext uri="{FF2B5EF4-FFF2-40B4-BE49-F238E27FC236}">
                <a16:creationId xmlns:a16="http://schemas.microsoft.com/office/drawing/2014/main" id="{CCE1327B-D819-4F42-A28E-6506B8207F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51873" y="273396"/>
            <a:ext cx="1162948" cy="811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087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2121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2121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4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390144" y="305272"/>
            <a:ext cx="11362944" cy="4889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91194" rIns="91194" bIns="45597" numCol="1" anchor="b" anchorCtr="0" compatLnSpc="1">
            <a:prstTxWarp prst="textNoShape">
              <a:avLst/>
            </a:prstTxWarp>
            <a:spAutoFit/>
          </a:bodyPr>
          <a:lstStyle>
            <a:lvl1pPr>
              <a:defRPr sz="2533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/>
              <a:t>Slide lead</a:t>
            </a:r>
          </a:p>
        </p:txBody>
      </p:sp>
      <p:sp>
        <p:nvSpPr>
          <p:cNvPr id="4" name="StickerRectangle"/>
          <p:cNvSpPr>
            <a:spLocks noChangeArrowheads="1"/>
          </p:cNvSpPr>
          <p:nvPr userDrawn="1"/>
        </p:nvSpPr>
        <p:spPr bwMode="gray">
          <a:xfrm>
            <a:off x="4954364" y="6595351"/>
            <a:ext cx="2268312" cy="14356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575" tIns="0" rIns="0" bIns="0">
            <a:spAutoFit/>
          </a:bodyPr>
          <a:lstStyle/>
          <a:p>
            <a:pPr algn="r" defTabSz="1166070">
              <a:buClr>
                <a:srgbClr val="F5824F"/>
              </a:buClr>
            </a:pPr>
            <a:r>
              <a:rPr lang="en-US" sz="933">
                <a:solidFill>
                  <a:srgbClr val="808080">
                    <a:alpha val="49000"/>
                  </a:srgbClr>
                </a:solidFill>
                <a:latin typeface="Arial"/>
              </a:rPr>
              <a:t>CONFIDENTIAL –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549069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0F0C48C-6419-E542-9E66-3B49E2C31F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12AFBBA-0440-664F-9718-A67967B2629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9928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6D8D87D-5760-5145-A3C9-CE4D5B30DC7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8896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9D7C00-1E28-464B-8EF2-9AE735767BD5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10" name="Picture 11">
            <a:extLst>
              <a:ext uri="{FF2B5EF4-FFF2-40B4-BE49-F238E27FC236}">
                <a16:creationId xmlns:a16="http://schemas.microsoft.com/office/drawing/2014/main" id="{A576E739-02E2-284B-B307-91C3AC5EB4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51873" y="273396"/>
            <a:ext cx="1162948" cy="811722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721B0F-1544-B342-8ED3-E88A03FB306F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A444CEB6-F74A-6E4E-9012-9FC03CA0C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5095"/>
            <a:ext cx="9560560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721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 userDrawn="1">
          <p15:clr>
            <a:srgbClr val="FBAE40"/>
          </p15:clr>
        </p15:guide>
        <p15:guide id="2" pos="384" userDrawn="1">
          <p15:clr>
            <a:srgbClr val="FBAE40"/>
          </p15:clr>
        </p15:guide>
        <p15:guide id="3" pos="7296" userDrawn="1">
          <p15:clr>
            <a:srgbClr val="FBAE40"/>
          </p15:clr>
        </p15:guide>
        <p15:guide id="4" orient="horz" pos="3912" userDrawn="1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kinny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2471" y="1562100"/>
            <a:ext cx="6859930" cy="4614863"/>
          </a:xfrm>
        </p:spPr>
        <p:txBody>
          <a:bodyPr anchor="t" anchorCtr="0"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0"/>
            <a:ext cx="3789363" cy="6192838"/>
          </a:xfrm>
        </p:spPr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24C16E0-92CF-6F41-9635-C97091D349D8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9" name="Picture 11">
            <a:extLst>
              <a:ext uri="{FF2B5EF4-FFF2-40B4-BE49-F238E27FC236}">
                <a16:creationId xmlns:a16="http://schemas.microsoft.com/office/drawing/2014/main" id="{0E2FA522-D656-A84F-8734-DEE8FEBAB7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51873" y="273396"/>
            <a:ext cx="1162948" cy="81172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99D72E9D-EE6F-134E-B5A9-2FB8729C9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399" y="175095"/>
            <a:ext cx="5466081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21C70C-B746-1148-A493-2776B1A321A0}"/>
              </a:ext>
            </a:extLst>
          </p:cNvPr>
          <p:cNvCxnSpPr>
            <a:cxnSpLocks/>
          </p:cNvCxnSpPr>
          <p:nvPr userDrawn="1"/>
        </p:nvCxnSpPr>
        <p:spPr>
          <a:xfrm>
            <a:off x="4724400" y="1356038"/>
            <a:ext cx="5760720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9034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12" userDrawn="1">
          <p15:clr>
            <a:srgbClr val="FBAE40"/>
          </p15:clr>
        </p15:guide>
        <p15:guide id="2" pos="384" userDrawn="1">
          <p15:clr>
            <a:srgbClr val="FBAE40"/>
          </p15:clr>
        </p15:guide>
        <p15:guide id="3" pos="2784" userDrawn="1">
          <p15:clr>
            <a:srgbClr val="FBAE40"/>
          </p15:clr>
        </p15:guide>
        <p15:guide id="4" orient="horz" pos="984" userDrawn="1">
          <p15:clr>
            <a:srgbClr val="FBAE40"/>
          </p15:clr>
        </p15:guide>
        <p15:guide id="5" pos="2976" userDrawn="1">
          <p15:clr>
            <a:srgbClr val="FBAE40"/>
          </p15:clr>
        </p15:guide>
        <p15:guide id="6" pos="7296" userDrawn="1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kinny Photo Righ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66613" y="0"/>
            <a:ext cx="3815787" cy="6192838"/>
          </a:xfrm>
        </p:spPr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6859082" cy="4614863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B21A11F-F3C0-A247-A60C-BE67729A030A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690767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C054A52C-27BC-0341-BC40-DC426058B2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25120"/>
            <a:ext cx="6896100" cy="56896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82369CF-5403-4E40-8CD7-4FFD11F5C5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1" y="965200"/>
            <a:ext cx="6896100" cy="284163"/>
          </a:xfrm>
        </p:spPr>
        <p:txBody>
          <a:bodyPr/>
          <a:lstStyle>
            <a:lvl1pPr marL="0" indent="0">
              <a:buNone/>
              <a:defRPr i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i="1"/>
              <a:t>Click to edit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48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4" orient="horz" pos="3912">
          <p15:clr>
            <a:srgbClr val="FBAE40"/>
          </p15:clr>
        </p15:guide>
        <p15:guide id="5" pos="4728">
          <p15:clr>
            <a:srgbClr val="FBAE40"/>
          </p15:clr>
        </p15:guide>
        <p15:guide id="6" pos="4896">
          <p15:clr>
            <a:srgbClr val="FBAE40"/>
          </p15:clr>
        </p15:guide>
        <p15:guide id="7" pos="7296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kinny Photo Right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66613" y="0"/>
            <a:ext cx="3815787" cy="6192838"/>
          </a:xfrm>
        </p:spPr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6859082" cy="4614863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B21A11F-F3C0-A247-A60C-BE67729A030A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690767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E1529B8E-E21A-8543-BDAB-7D936F152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320"/>
            <a:ext cx="6880873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9701E11-0FE4-7548-B605-B4E42F2714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1" y="792480"/>
            <a:ext cx="6896100" cy="426403"/>
          </a:xfrm>
        </p:spPr>
        <p:txBody>
          <a:bodyPr/>
          <a:lstStyle>
            <a:lvl1pPr marL="0" indent="0">
              <a:buNone/>
              <a:defRPr i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264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4" orient="horz" pos="3912">
          <p15:clr>
            <a:srgbClr val="FBAE40"/>
          </p15:clr>
        </p15:guide>
        <p15:guide id="5" pos="4728">
          <p15:clr>
            <a:srgbClr val="FBAE40"/>
          </p15:clr>
        </p15:guide>
        <p15:guide id="6" pos="4896">
          <p15:clr>
            <a:srgbClr val="FBAE40"/>
          </p15:clr>
        </p15:guide>
        <p15:guide id="7" pos="7296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7327" y="2095500"/>
            <a:ext cx="4325074" cy="3078384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318FC55D-C4A7-8F45-8F50-2EAE7BCFD47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2588" y="334963"/>
            <a:ext cx="6492875" cy="6157912"/>
          </a:xfrm>
        </p:spPr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B98A59D-123E-5748-BCE5-F090EB559309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4350B91-35CE-988A-5E82-9ED0929BBF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498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2">
          <p15:clr>
            <a:srgbClr val="FBAE40"/>
          </p15:clr>
        </p15:guide>
        <p15:guide id="2" pos="240">
          <p15:clr>
            <a:srgbClr val="FBAE40"/>
          </p15:clr>
        </p15:guide>
        <p15:guide id="3" orient="horz" pos="4104">
          <p15:clr>
            <a:srgbClr val="FBAE40"/>
          </p15:clr>
        </p15:guide>
        <p15:guide id="4" pos="4344">
          <p15:clr>
            <a:srgbClr val="FBAE40"/>
          </p15:clr>
        </p15:guide>
        <p15:guide id="5" pos="4560">
          <p15:clr>
            <a:srgbClr val="FBAE40"/>
          </p15:clr>
        </p15:guide>
        <p15:guide id="6" pos="7296">
          <p15:clr>
            <a:srgbClr val="FBAE40"/>
          </p15:clr>
        </p15:guide>
        <p15:guide id="7" orient="horz" pos="1320">
          <p15:clr>
            <a:srgbClr val="FBAE40"/>
          </p15:clr>
        </p15:guide>
        <p15:guide id="8" orient="horz" pos="326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6E58B8C-779F-184B-97E6-77B9C082B6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2" y="4443413"/>
            <a:ext cx="12192000" cy="1914525"/>
          </a:xfrm>
          <a:prstGeom prst="rect">
            <a:avLst/>
          </a:prstGeom>
          <a:noFill/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463924" y="4795479"/>
            <a:ext cx="6333017" cy="848085"/>
          </a:xfrm>
        </p:spPr>
        <p:txBody>
          <a:bodyPr/>
          <a:lstStyle>
            <a:lvl1pPr marL="0" indent="0" algn="r">
              <a:buNone/>
              <a:defRPr sz="4400" b="0" i="0">
                <a:solidFill>
                  <a:schemeClr val="bg2"/>
                </a:solidFill>
                <a:latin typeface="+mj-lt"/>
                <a:ea typeface="Roboto Slab Light" pitchFamily="2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294459" y="5688921"/>
            <a:ext cx="3443288" cy="577850"/>
          </a:xfrm>
        </p:spPr>
        <p:txBody>
          <a:bodyPr/>
          <a:lstStyle>
            <a:lvl1pPr marL="0" indent="0" algn="r">
              <a:buNone/>
              <a:defRPr sz="2200" b="0" i="1">
                <a:solidFill>
                  <a:schemeClr val="bg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ubhead or Dat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5463924" y="5566679"/>
            <a:ext cx="6267235" cy="308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04B8D28-42EA-6143-800E-36A8631DDDED}"/>
              </a:ext>
            </a:extLst>
          </p:cNvPr>
          <p:cNvSpPr/>
          <p:nvPr userDrawn="1"/>
        </p:nvSpPr>
        <p:spPr>
          <a:xfrm>
            <a:off x="-20514" y="4443413"/>
            <a:ext cx="2212094" cy="191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D56747C-94AA-A8D7-4CC8-F7BD2D7615D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3292" y="4857750"/>
            <a:ext cx="1744481" cy="1085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55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rge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7327" y="2095500"/>
            <a:ext cx="4325074" cy="3078384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318FC55D-C4A7-8F45-8F50-2EAE7BCFD47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2588" y="334963"/>
            <a:ext cx="6492875" cy="6157912"/>
          </a:xfrm>
        </p:spPr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B98A59D-123E-5748-BCE5-F090EB559309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9" name="Picture 11">
            <a:extLst>
              <a:ext uri="{FF2B5EF4-FFF2-40B4-BE49-F238E27FC236}">
                <a16:creationId xmlns:a16="http://schemas.microsoft.com/office/drawing/2014/main" id="{CC5DDF57-CD79-7544-842D-0682B6A4FD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51873" y="273396"/>
            <a:ext cx="1162948" cy="811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681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2" userDrawn="1">
          <p15:clr>
            <a:srgbClr val="FBAE40"/>
          </p15:clr>
        </p15:guide>
        <p15:guide id="2" pos="240" userDrawn="1">
          <p15:clr>
            <a:srgbClr val="FBAE40"/>
          </p15:clr>
        </p15:guide>
        <p15:guide id="3" orient="horz" pos="4104" userDrawn="1">
          <p15:clr>
            <a:srgbClr val="FBAE40"/>
          </p15:clr>
        </p15:guide>
        <p15:guide id="4" pos="4344" userDrawn="1">
          <p15:clr>
            <a:srgbClr val="FBAE40"/>
          </p15:clr>
        </p15:guide>
        <p15:guide id="5" pos="4560" userDrawn="1">
          <p15:clr>
            <a:srgbClr val="FBAE40"/>
          </p15:clr>
        </p15:guide>
        <p15:guide id="6" pos="7296" userDrawn="1">
          <p15:clr>
            <a:srgbClr val="FBAE40"/>
          </p15:clr>
        </p15:guide>
        <p15:guide id="7" orient="horz" pos="1320" userDrawn="1">
          <p15:clr>
            <a:srgbClr val="FBAE40"/>
          </p15:clr>
        </p15:guide>
        <p15:guide id="8" orient="horz" pos="3264" userDrawn="1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966518-0B53-0448-A378-BFBA91FB5B7A}"/>
              </a:ext>
            </a:extLst>
          </p:cNvPr>
          <p:cNvSpPr/>
          <p:nvPr userDrawn="1"/>
        </p:nvSpPr>
        <p:spPr>
          <a:xfrm>
            <a:off x="0" y="0"/>
            <a:ext cx="290524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640983-E937-314A-B3A2-6D94622DDCB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666875" y="1608138"/>
            <a:ext cx="2743200" cy="3692525"/>
          </a:xfrm>
          <a:ln w="127000">
            <a:noFill/>
            <a:miter lim="800000"/>
          </a:ln>
        </p:spPr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F07E31C-8290-1A40-A30F-16D9DC22A6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6001" y="2029493"/>
            <a:ext cx="6756400" cy="272005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200">
                <a:latin typeface="+mj-lt"/>
              </a:defRPr>
            </a:lvl1pPr>
          </a:lstStyle>
          <a:p>
            <a:pPr lvl="0"/>
            <a:r>
              <a:rPr lang="en-US"/>
              <a:t>“Quote.”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3DC3D47-848D-FB41-9D89-A789C15C5A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26001" y="4868696"/>
            <a:ext cx="6756400" cy="427204"/>
          </a:xfrm>
        </p:spPr>
        <p:txBody>
          <a:bodyPr tIns="91440">
            <a:noAutofit/>
          </a:bodyPr>
          <a:lstStyle>
            <a:lvl1pPr marL="0" indent="0">
              <a:lnSpc>
                <a:spcPts val="880"/>
              </a:lnSpc>
              <a:buNone/>
              <a:defRPr sz="1400" i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Attribu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D9C8ABF-840F-C244-8C12-AAE9A6944A58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BA87FFA-3859-BD9A-8CA0-C87F880074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140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024">
          <p15:clr>
            <a:srgbClr val="FBAE40"/>
          </p15:clr>
        </p15:guide>
        <p15:guide id="3" pos="105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3000">
          <p15:clr>
            <a:srgbClr val="FBAE40"/>
          </p15:clr>
        </p15:guide>
        <p15:guide id="6" orient="horz" pos="3072">
          <p15:clr>
            <a:srgbClr val="FBAE40"/>
          </p15:clr>
        </p15:guide>
        <p15:guide id="7" orient="horz" pos="3336">
          <p15:clr>
            <a:srgbClr val="FBAE40"/>
          </p15:clr>
        </p15:guide>
        <p15:guide id="8" orient="horz" pos="3360">
          <p15:clr>
            <a:srgbClr val="FBAE40"/>
          </p15:clr>
        </p15:guide>
        <p15:guide id="9" pos="7296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0F14312-84C0-444B-A37B-78B6E7600AE4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468927D-873E-6F5C-21DE-8BB60E3898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288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uot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966518-0B53-0448-A378-BFBA91FB5B7A}"/>
              </a:ext>
            </a:extLst>
          </p:cNvPr>
          <p:cNvSpPr/>
          <p:nvPr userDrawn="1"/>
        </p:nvSpPr>
        <p:spPr>
          <a:xfrm>
            <a:off x="0" y="0"/>
            <a:ext cx="290524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640983-E937-314A-B3A2-6D94622DDCB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666875" y="1608138"/>
            <a:ext cx="2743200" cy="3692525"/>
          </a:xfrm>
          <a:ln w="127000">
            <a:noFill/>
            <a:miter lim="800000"/>
          </a:ln>
        </p:spPr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F07E31C-8290-1A40-A30F-16D9DC22A6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6001" y="2029493"/>
            <a:ext cx="6756400" cy="272005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200">
                <a:latin typeface="+mj-lt"/>
              </a:defRPr>
            </a:lvl1pPr>
          </a:lstStyle>
          <a:p>
            <a:pPr lvl="0"/>
            <a:r>
              <a:rPr lang="en-US"/>
              <a:t>“Quote.”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3DC3D47-848D-FB41-9D89-A789C15C5A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26001" y="4868696"/>
            <a:ext cx="6756400" cy="427204"/>
          </a:xfrm>
        </p:spPr>
        <p:txBody>
          <a:bodyPr tIns="91440">
            <a:noAutofit/>
          </a:bodyPr>
          <a:lstStyle>
            <a:lvl1pPr marL="0" indent="0">
              <a:lnSpc>
                <a:spcPts val="880"/>
              </a:lnSpc>
              <a:buNone/>
              <a:defRPr sz="1400" i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Attribu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D9C8ABF-840F-C244-8C12-AAE9A6944A58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14" name="Picture 11">
            <a:extLst>
              <a:ext uri="{FF2B5EF4-FFF2-40B4-BE49-F238E27FC236}">
                <a16:creationId xmlns:a16="http://schemas.microsoft.com/office/drawing/2014/main" id="{43298FF9-2F7F-3F4A-98D8-8D6D329B58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51873" y="273396"/>
            <a:ext cx="1162948" cy="811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250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08" userDrawn="1">
          <p15:clr>
            <a:srgbClr val="FBAE40"/>
          </p15:clr>
        </p15:guide>
        <p15:guide id="2" pos="3024" userDrawn="1">
          <p15:clr>
            <a:srgbClr val="FBAE40"/>
          </p15:clr>
        </p15:guide>
        <p15:guide id="3" pos="1056" userDrawn="1">
          <p15:clr>
            <a:srgbClr val="FBAE40"/>
          </p15:clr>
        </p15:guide>
        <p15:guide id="4" orient="horz" pos="1272" userDrawn="1">
          <p15:clr>
            <a:srgbClr val="FBAE40"/>
          </p15:clr>
        </p15:guide>
        <p15:guide id="5" orient="horz" pos="3000" userDrawn="1">
          <p15:clr>
            <a:srgbClr val="FBAE40"/>
          </p15:clr>
        </p15:guide>
        <p15:guide id="6" orient="horz" pos="3072" userDrawn="1">
          <p15:clr>
            <a:srgbClr val="FBAE40"/>
          </p15:clr>
        </p15:guide>
        <p15:guide id="7" orient="horz" pos="3336" userDrawn="1">
          <p15:clr>
            <a:srgbClr val="FBAE40"/>
          </p15:clr>
        </p15:guide>
        <p15:guide id="8" orient="horz" pos="3360" userDrawn="1">
          <p15:clr>
            <a:srgbClr val="FBAE40"/>
          </p15:clr>
        </p15:guide>
        <p15:guide id="9" pos="7296" userDrawn="1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966518-0B53-0448-A378-BFBA91FB5B7A}"/>
              </a:ext>
            </a:extLst>
          </p:cNvPr>
          <p:cNvSpPr/>
          <p:nvPr userDrawn="1"/>
        </p:nvSpPr>
        <p:spPr>
          <a:xfrm>
            <a:off x="0" y="0"/>
            <a:ext cx="83312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F07E31C-8290-1A40-A30F-16D9DC22A6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3361" y="1548050"/>
            <a:ext cx="7955280" cy="272005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200">
                <a:latin typeface="+mj-lt"/>
              </a:defRPr>
            </a:lvl1pPr>
          </a:lstStyle>
          <a:p>
            <a:pPr lvl="0"/>
            <a:r>
              <a:rPr lang="en-US"/>
              <a:t>“Quote.”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3DC3D47-848D-FB41-9D89-A789C15C5A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3361" y="4407218"/>
            <a:ext cx="7955280" cy="404812"/>
          </a:xfrm>
        </p:spPr>
        <p:txBody>
          <a:bodyPr tIns="91440">
            <a:noAutofit/>
          </a:bodyPr>
          <a:lstStyle>
            <a:lvl1pPr marL="0" indent="0">
              <a:lnSpc>
                <a:spcPts val="880"/>
              </a:lnSpc>
              <a:buNone/>
              <a:defRPr sz="1400" i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Attrib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E7D37EF-F47E-7646-A640-53C869243F0F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DE0D62D-B601-6E46-A9E3-0362B8B6F2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51873" y="273396"/>
            <a:ext cx="1162948" cy="811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969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60" userDrawn="1">
          <p15:clr>
            <a:srgbClr val="FBAE40"/>
          </p15:clr>
        </p15:guide>
        <p15:guide id="2" pos="936" userDrawn="1">
          <p15:clr>
            <a:srgbClr val="FBAE40"/>
          </p15:clr>
        </p15:guide>
        <p15:guide id="3" pos="5952" userDrawn="1">
          <p15:clr>
            <a:srgbClr val="FBAE40"/>
          </p15:clr>
        </p15:guide>
        <p15:guide id="4" orient="horz" pos="2688" userDrawn="1">
          <p15:clr>
            <a:srgbClr val="FBAE40"/>
          </p15:clr>
        </p15:guide>
        <p15:guide id="5" orient="horz" pos="2760" userDrawn="1">
          <p15:clr>
            <a:srgbClr val="FBAE40"/>
          </p15:clr>
        </p15:guide>
        <p15:guide id="6" orient="horz" pos="3024" userDrawn="1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0F14312-84C0-444B-A37B-78B6E7600AE4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8" name="Picture 11">
            <a:extLst>
              <a:ext uri="{FF2B5EF4-FFF2-40B4-BE49-F238E27FC236}">
                <a16:creationId xmlns:a16="http://schemas.microsoft.com/office/drawing/2014/main" id="{AD45DE4F-CFCD-1044-9AC0-36D0646613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51873" y="273396"/>
            <a:ext cx="1162948" cy="811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61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losing S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4F5234B-206E-8947-ACA6-B098E14C8FB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91CC5C20-C561-D84A-8E0F-35B6B3F7F2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5264" y="2267042"/>
            <a:ext cx="3321473" cy="2323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338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 / Small Quote (Go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34911" y="-89940"/>
            <a:ext cx="3097567" cy="70153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29335" y="1422484"/>
            <a:ext cx="2866642" cy="401303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5321508" y="1422484"/>
            <a:ext cx="6206572" cy="3228343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2800">
                <a:latin typeface="+mj-lt"/>
              </a:defRPr>
            </a:lvl1pPr>
            <a:lvl2pPr marL="182880" indent="0">
              <a:spcBef>
                <a:spcPts val="3500"/>
              </a:spcBef>
              <a:buNone/>
              <a:defRPr i="1">
                <a:latin typeface="+mj-lt"/>
              </a:defRPr>
            </a:lvl2pPr>
          </a:lstStyle>
          <a:p>
            <a:pPr lvl="0"/>
            <a:r>
              <a:rPr lang="en-US"/>
              <a:t>“Quote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321300" y="4929352"/>
            <a:ext cx="6207125" cy="506248"/>
          </a:xfrm>
        </p:spPr>
        <p:txBody>
          <a:bodyPr>
            <a:normAutofit/>
          </a:bodyPr>
          <a:lstStyle>
            <a:lvl1pPr marL="4763" indent="0">
              <a:lnSpc>
                <a:spcPct val="100000"/>
              </a:lnSpc>
              <a:spcBef>
                <a:spcPts val="0"/>
              </a:spcBef>
              <a:buNone/>
              <a:tabLst/>
              <a:defRPr sz="1600" spc="100" baseline="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4763" indent="0">
              <a:lnSpc>
                <a:spcPct val="100000"/>
              </a:lnSpc>
              <a:spcBef>
                <a:spcPts val="0"/>
              </a:spcBef>
              <a:buNone/>
              <a:tabLst/>
              <a:defRPr sz="1600" i="1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Attribution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26A8BBF-3621-614E-A8BD-63CAF9A756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9966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93C2FB-EF86-FD49-89EB-659751C1589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E74E902-04FB-F74E-8524-8E36EEAF268C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FE5B02F-84B2-374D-A5F1-4AEF59DF76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51873" y="273396"/>
            <a:ext cx="1162948" cy="811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03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2C3C990-91EF-DB46-9027-FA2760C96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036" y="-27432"/>
            <a:ext cx="12206036" cy="688543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E41F5D6-71C7-8540-A903-95BE29BA58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7000">
                <a:schemeClr val="accent1">
                  <a:alpha val="90000"/>
                </a:schemeClr>
              </a:gs>
              <a:gs pos="99000">
                <a:schemeClr val="accent1">
                  <a:alpha val="2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3616960"/>
            <a:ext cx="8575040" cy="1312075"/>
          </a:xfrm>
        </p:spPr>
        <p:txBody>
          <a:bodyPr anchor="b" anchorCtr="0"/>
          <a:lstStyle>
            <a:lvl1pPr algn="l">
              <a:defRPr sz="4800" b="0" i="0">
                <a:solidFill>
                  <a:schemeClr val="bg2">
                    <a:lumMod val="25000"/>
                  </a:schemeClr>
                </a:solidFill>
                <a:latin typeface="+mj-lt"/>
                <a:ea typeface="Roboto Slab Light" pitchFamily="2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EB26B32-06CE-7743-B082-7648A0284080}"/>
              </a:ext>
            </a:extLst>
          </p:cNvPr>
          <p:cNvSpPr txBox="1">
            <a:spLocks/>
          </p:cNvSpPr>
          <p:nvPr userDrawn="1"/>
        </p:nvSpPr>
        <p:spPr>
          <a:xfrm>
            <a:off x="650240" y="4953000"/>
            <a:ext cx="8227542" cy="13120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i="0" kern="120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endParaRPr lang="en-US" sz="3600" b="0" i="0">
              <a:cs typeface="Open Sans" panose="020B060603050402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A921F85-DFB0-C94F-B82E-F2E18576B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6113" y="5029200"/>
            <a:ext cx="8251825" cy="1238250"/>
          </a:xfrm>
        </p:spPr>
        <p:txBody>
          <a:bodyPr anchor="t" anchorCtr="0"/>
          <a:lstStyle>
            <a:lvl1pPr marL="0" indent="0">
              <a:buNone/>
              <a:defRPr sz="3200" b="0" i="1">
                <a:solidFill>
                  <a:schemeClr val="bg2">
                    <a:lumMod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sub tit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26BC9CF-C5C7-19C0-E4BC-F30A5B0798A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1330" y="590551"/>
            <a:ext cx="2299450" cy="143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37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5095"/>
            <a:ext cx="9499600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10972800" cy="4648199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F4440FD-3414-374B-A9AC-A45E138B26C4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14A4EFA-8C19-2E47-B95C-A64B7FFD6716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A71ED6BF-F047-F643-BADC-3C6C752935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832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 userDrawn="1">
          <p15:clr>
            <a:srgbClr val="FBAE40"/>
          </p15:clr>
        </p15:guide>
        <p15:guide id="2" pos="384" userDrawn="1">
          <p15:clr>
            <a:srgbClr val="FBAE40"/>
          </p15:clr>
        </p15:guide>
        <p15:guide id="3" pos="7296" userDrawn="1">
          <p15:clr>
            <a:srgbClr val="FBAE40"/>
          </p15:clr>
        </p15:guide>
        <p15:guide id="4" orient="horz" pos="39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25120"/>
            <a:ext cx="9469120" cy="56896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10972800" cy="4648199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F4440FD-3414-374B-A9AC-A45E138B26C4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14A4EFA-8C19-2E47-B95C-A64B7FFD6716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D253C39-5D5C-0942-AF66-9A859B409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965200"/>
            <a:ext cx="9490075" cy="28416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0B7DE28-5581-D231-8115-332BCBBA55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611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391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10972800" cy="4648199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F4440FD-3414-374B-A9AC-A45E138B26C4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14A4EFA-8C19-2E47-B95C-A64B7FFD6716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5CBDB16C-FCE1-654B-A8B0-03B0C3BDA9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320"/>
            <a:ext cx="9469120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73B8F32-84C1-6145-9135-8814C97CD2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792480"/>
            <a:ext cx="9490075" cy="42640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7F8071D-62CF-B3AA-6EB8-2933D34072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13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391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9FEABE-3AFB-8149-8319-459E7E20C7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01BFFE-8BB7-C54B-B1C7-E8CEFEC397A4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790DA94-B1B1-F540-B236-89961D005175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5149A5D1-1E27-3449-8A9D-C212D7E5C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5095"/>
            <a:ext cx="9499600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C87D7E4-C7D3-33A6-C205-BF49A873BF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BE70B37-3F9A-3305-0A74-CDF42EA6BE51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59206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1323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 userDrawn="1">
          <p15:clr>
            <a:srgbClr val="FBAE40"/>
          </p15:clr>
        </p15:guide>
        <p15:guide id="2" pos="384" userDrawn="1">
          <p15:clr>
            <a:srgbClr val="FBAE40"/>
          </p15:clr>
        </p15:guide>
        <p15:guide id="3" orient="horz" pos="3912" userDrawn="1">
          <p15:clr>
            <a:srgbClr val="FBAE40"/>
          </p15:clr>
        </p15:guide>
        <p15:guide id="4" pos="729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9FEABE-3AFB-8149-8319-459E7E20C7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01BFFE-8BB7-C54B-B1C7-E8CEFEC397A4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86B9C39-3930-0642-8851-75ED3365A3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25120"/>
            <a:ext cx="9469120" cy="56896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81F3A1-E986-E642-A06A-620E378A355F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4A91B707-11BE-AD43-B13E-0FAB91299C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965200"/>
            <a:ext cx="9490075" cy="28416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DE0278F-90F4-C614-C834-B4489B3CCF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BB31BBF-CD76-C911-5539-E6C5D413F9C5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359206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2594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E41F5D6-71C7-8540-A903-95BE29BA58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4B70C23-CE74-FE49-A806-7EA59C5E46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tretch>
            <a:fillRect/>
          </a:stretch>
        </p:blipFill>
        <p:spPr>
          <a:xfrm>
            <a:off x="2782206" y="0"/>
            <a:ext cx="807893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3616960"/>
            <a:ext cx="8227542" cy="1312075"/>
          </a:xfrm>
        </p:spPr>
        <p:txBody>
          <a:bodyPr anchor="b" anchorCtr="0"/>
          <a:lstStyle>
            <a:lvl1pPr algn="l">
              <a:defRPr sz="54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31E2702E-14ED-A049-8014-3B706337914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111" y="740314"/>
            <a:ext cx="2220647" cy="1553708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EB26B32-06CE-7743-B082-7648A0284080}"/>
              </a:ext>
            </a:extLst>
          </p:cNvPr>
          <p:cNvSpPr txBox="1">
            <a:spLocks/>
          </p:cNvSpPr>
          <p:nvPr userDrawn="1"/>
        </p:nvSpPr>
        <p:spPr>
          <a:xfrm>
            <a:off x="650240" y="4953000"/>
            <a:ext cx="8227542" cy="13120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i="0" kern="120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endParaRPr lang="en-US" sz="3600" i="1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A921F85-DFB0-C94F-B82E-F2E18576B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6113" y="5029200"/>
            <a:ext cx="8251825" cy="1238250"/>
          </a:xfrm>
        </p:spPr>
        <p:txBody>
          <a:bodyPr anchor="t" anchorCtr="0"/>
          <a:lstStyle>
            <a:lvl1pPr marL="0" indent="0">
              <a:buNone/>
              <a:defRPr sz="3200" i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sub title</a:t>
            </a:r>
          </a:p>
        </p:txBody>
      </p:sp>
    </p:spTree>
    <p:extLst>
      <p:ext uri="{BB962C8B-B14F-4D97-AF65-F5344CB8AC3E}">
        <p14:creationId xmlns:p14="http://schemas.microsoft.com/office/powerpoint/2010/main" val="2450258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9FEABE-3AFB-8149-8319-459E7E20C7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01BFFE-8BB7-C54B-B1C7-E8CEFEC397A4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81F3A1-E986-E642-A06A-620E378A355F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42501A62-76E2-DD4B-90E6-E5FE9B329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320"/>
            <a:ext cx="9469120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5DAB394-EDF1-5D48-920C-20021D8EF0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2480"/>
            <a:ext cx="9490075" cy="42640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A73EDE9-E753-AC30-F3A1-835BB1888E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FEC7BE1-8207-53F3-6D92-94A74605FA06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359206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5409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0F0C48C-6419-E542-9E66-3B49E2C31F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77967"/>
            <a:ext cx="3393440" cy="4629476"/>
          </a:xfrm>
        </p:spPr>
        <p:txBody>
          <a:bodyPr anchor="t" anchorCtr="0"/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12AFBBA-0440-664F-9718-A67967B2629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9928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6D8D87D-5760-5145-A3C9-CE4D5B30DC7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8896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9D7C00-1E28-464B-8EF2-9AE735767BD5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721B0F-1544-B342-8ED3-E88A03FB306F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945F7755-2DA8-0A4A-B346-37B838F8F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5095"/>
            <a:ext cx="9499600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5654BFD-DB60-606E-0651-61D9A7EC8F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21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 userDrawn="1">
          <p15:clr>
            <a:srgbClr val="FBAE40"/>
          </p15:clr>
        </p15:guide>
        <p15:guide id="2" pos="384" userDrawn="1">
          <p15:clr>
            <a:srgbClr val="FBAE40"/>
          </p15:clr>
        </p15:guide>
        <p15:guide id="3" pos="7296" userDrawn="1">
          <p15:clr>
            <a:srgbClr val="FBAE40"/>
          </p15:clr>
        </p15:guide>
        <p15:guide id="4" orient="horz" pos="391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0F0C48C-6419-E542-9E66-3B49E2C31F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12AFBBA-0440-664F-9718-A67967B2629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9928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6D8D87D-5760-5145-A3C9-CE4D5B30DC7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8896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9D7C00-1E28-464B-8EF2-9AE735767BD5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3832153-8289-6948-9B14-0F51FAF7A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25120"/>
            <a:ext cx="9469120" cy="56896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443D2C-157D-5A47-A20F-2B23B6782CE1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4BF11BC-523B-124E-8A1E-C9ADCE3E1B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965200"/>
            <a:ext cx="9490075" cy="28416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3BDBEED-4242-B3D2-0C81-52E8F6D36C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615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391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0F0C48C-6419-E542-9E66-3B49E2C31F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12AFBBA-0440-664F-9718-A67967B2629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9928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6D8D87D-5760-5145-A3C9-CE4D5B30DC7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8896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9D7C00-1E28-464B-8EF2-9AE735767BD5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443D2C-157D-5A47-A20F-2B23B6782CE1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7BB336AE-C178-AC43-84E5-33C29412B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320"/>
            <a:ext cx="9469120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53D86292-7698-6646-8991-2844CE386B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792480"/>
            <a:ext cx="9490075" cy="42640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3816E19-81FB-E44B-A0FC-08B5482069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35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391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nny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2471" y="1562100"/>
            <a:ext cx="6859930" cy="4614863"/>
          </a:xfrm>
        </p:spPr>
        <p:txBody>
          <a:bodyPr anchor="t" anchorCtr="0"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0"/>
            <a:ext cx="3789363" cy="6192838"/>
          </a:xfrm>
        </p:spPr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24C16E0-92CF-6F41-9635-C97091D349D8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9D72E9D-EE6F-134E-B5A9-2FB8729C9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399" y="175095"/>
            <a:ext cx="5009909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21C70C-B746-1148-A493-2776B1A321A0}"/>
              </a:ext>
            </a:extLst>
          </p:cNvPr>
          <p:cNvCxnSpPr>
            <a:cxnSpLocks/>
          </p:cNvCxnSpPr>
          <p:nvPr userDrawn="1"/>
        </p:nvCxnSpPr>
        <p:spPr>
          <a:xfrm>
            <a:off x="4724400" y="1356038"/>
            <a:ext cx="5760720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E2DF696C-F86A-E6FD-52C3-E5DBA17269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623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12">
          <p15:clr>
            <a:srgbClr val="FBAE40"/>
          </p15:clr>
        </p15:guide>
        <p15:guide id="2" pos="384">
          <p15:clr>
            <a:srgbClr val="FBAE40"/>
          </p15:clr>
        </p15:guide>
        <p15:guide id="3" pos="2784">
          <p15:clr>
            <a:srgbClr val="FBAE40"/>
          </p15:clr>
        </p15:guide>
        <p15:guide id="4" orient="horz" pos="984">
          <p15:clr>
            <a:srgbClr val="FBAE40"/>
          </p15:clr>
        </p15:guide>
        <p15:guide id="5" pos="2976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nny Photo Lef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2471" y="1562100"/>
            <a:ext cx="6859930" cy="4614863"/>
          </a:xfrm>
        </p:spPr>
        <p:txBody>
          <a:bodyPr anchor="t" anchorCtr="0"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0"/>
            <a:ext cx="3789363" cy="6192838"/>
          </a:xfrm>
        </p:spPr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24C16E0-92CF-6F41-9635-C97091D349D8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21C70C-B746-1148-A493-2776B1A321A0}"/>
              </a:ext>
            </a:extLst>
          </p:cNvPr>
          <p:cNvCxnSpPr>
            <a:cxnSpLocks/>
          </p:cNvCxnSpPr>
          <p:nvPr userDrawn="1"/>
        </p:nvCxnSpPr>
        <p:spPr>
          <a:xfrm>
            <a:off x="4724400" y="1356038"/>
            <a:ext cx="5760720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949EA303-5278-A449-9440-6A0F1B3BBD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400" y="325120"/>
            <a:ext cx="5354320" cy="56896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EDDC8735-3449-B949-BDF8-6A201B956E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4400" y="965200"/>
            <a:ext cx="5375275" cy="28416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21EEE9-C726-9AEB-F8C8-BFE321119D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034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12" userDrawn="1">
          <p15:clr>
            <a:srgbClr val="FBAE40"/>
          </p15:clr>
        </p15:guide>
        <p15:guide id="2" pos="384" userDrawn="1">
          <p15:clr>
            <a:srgbClr val="FBAE40"/>
          </p15:clr>
        </p15:guide>
        <p15:guide id="3" pos="2784" userDrawn="1">
          <p15:clr>
            <a:srgbClr val="FBAE40"/>
          </p15:clr>
        </p15:guide>
        <p15:guide id="4" orient="horz" pos="984" userDrawn="1">
          <p15:clr>
            <a:srgbClr val="FBAE40"/>
          </p15:clr>
        </p15:guide>
        <p15:guide id="5" pos="2976" userDrawn="1">
          <p15:clr>
            <a:srgbClr val="FBAE40"/>
          </p15:clr>
        </p15:guide>
        <p15:guide id="6" pos="7296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nny Photo Left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2471" y="1562100"/>
            <a:ext cx="6859930" cy="4614863"/>
          </a:xfrm>
        </p:spPr>
        <p:txBody>
          <a:bodyPr anchor="t" anchorCtr="0"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0"/>
            <a:ext cx="3789363" cy="6192838"/>
          </a:xfrm>
        </p:spPr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24C16E0-92CF-6F41-9635-C97091D349D8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21C70C-B746-1148-A493-2776B1A321A0}"/>
              </a:ext>
            </a:extLst>
          </p:cNvPr>
          <p:cNvCxnSpPr>
            <a:cxnSpLocks/>
          </p:cNvCxnSpPr>
          <p:nvPr userDrawn="1"/>
        </p:nvCxnSpPr>
        <p:spPr>
          <a:xfrm>
            <a:off x="4724400" y="1356038"/>
            <a:ext cx="5760720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53DC57D1-818A-3B48-9EFC-82C14F8DA9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400" y="274320"/>
            <a:ext cx="5354320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76E6F74-E1C4-B548-9A47-4B556FD862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33506" y="792480"/>
            <a:ext cx="5366169" cy="42640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CD6FAC8-E1F2-F235-5D9C-4C9B705CDB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603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12">
          <p15:clr>
            <a:srgbClr val="FBAE40"/>
          </p15:clr>
        </p15:guide>
        <p15:guide id="2" pos="384">
          <p15:clr>
            <a:srgbClr val="FBAE40"/>
          </p15:clr>
        </p15:guide>
        <p15:guide id="3" pos="2784">
          <p15:clr>
            <a:srgbClr val="FBAE40"/>
          </p15:clr>
        </p15:guide>
        <p15:guide id="4" orient="horz" pos="984">
          <p15:clr>
            <a:srgbClr val="FBAE40"/>
          </p15:clr>
        </p15:guide>
        <p15:guide id="5" pos="2976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nny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66613" y="0"/>
            <a:ext cx="3815787" cy="6192838"/>
          </a:xfrm>
        </p:spPr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6859082" cy="4614863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B831997-046F-B544-A9DE-9D1534FA60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5095"/>
            <a:ext cx="6896100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B21A11F-F3C0-A247-A60C-BE67729A030A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690767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047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 userDrawn="1">
          <p15:clr>
            <a:srgbClr val="FBAE40"/>
          </p15:clr>
        </p15:guide>
        <p15:guide id="2" pos="384" userDrawn="1">
          <p15:clr>
            <a:srgbClr val="FBAE40"/>
          </p15:clr>
        </p15:guide>
        <p15:guide id="4" orient="horz" pos="3912" userDrawn="1">
          <p15:clr>
            <a:srgbClr val="FBAE40"/>
          </p15:clr>
        </p15:guide>
        <p15:guide id="5" pos="4728" userDrawn="1">
          <p15:clr>
            <a:srgbClr val="FBAE40"/>
          </p15:clr>
        </p15:guide>
        <p15:guide id="6" pos="4896" userDrawn="1">
          <p15:clr>
            <a:srgbClr val="FBAE40"/>
          </p15:clr>
        </p15:guide>
        <p15:guide id="7" pos="7296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nny Photo Righ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66613" y="0"/>
            <a:ext cx="3815787" cy="6192838"/>
          </a:xfrm>
        </p:spPr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6859082" cy="4614863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B21A11F-F3C0-A247-A60C-BE67729A030A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690767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C054A52C-27BC-0341-BC40-DC426058B2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25120"/>
            <a:ext cx="6896100" cy="56896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82369CF-5403-4E40-8CD7-4FFD11F5C5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1" y="965200"/>
            <a:ext cx="6896100" cy="28416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411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4" orient="horz" pos="3912">
          <p15:clr>
            <a:srgbClr val="FBAE40"/>
          </p15:clr>
        </p15:guide>
        <p15:guide id="5" pos="4728">
          <p15:clr>
            <a:srgbClr val="FBAE40"/>
          </p15:clr>
        </p15:guide>
        <p15:guide id="6" pos="4896">
          <p15:clr>
            <a:srgbClr val="FBAE40"/>
          </p15:clr>
        </p15:guide>
        <p15:guide id="7" pos="729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nny Photo Right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66613" y="0"/>
            <a:ext cx="3815787" cy="6192838"/>
          </a:xfrm>
        </p:spPr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6859082" cy="4614863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B21A11F-F3C0-A247-A60C-BE67729A030A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690767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E1529B8E-E21A-8543-BDAB-7D936F152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320"/>
            <a:ext cx="6880873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9701E11-0FE4-7548-B605-B4E42F2714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1" y="792480"/>
            <a:ext cx="6896100" cy="42640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54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4" orient="horz" pos="3912">
          <p15:clr>
            <a:srgbClr val="FBAE40"/>
          </p15:clr>
        </p15:guide>
        <p15:guide id="5" pos="4728">
          <p15:clr>
            <a:srgbClr val="FBAE40"/>
          </p15:clr>
        </p15:guide>
        <p15:guide id="6" pos="4896">
          <p15:clr>
            <a:srgbClr val="FBAE40"/>
          </p15:clr>
        </p15:guide>
        <p15:guide id="7" pos="729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269823" y="-149902"/>
            <a:ext cx="12726649" cy="71503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8307" y="2269759"/>
            <a:ext cx="2815386" cy="1971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48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7327" y="2095500"/>
            <a:ext cx="4325074" cy="3078384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318FC55D-C4A7-8F45-8F50-2EAE7BCFD47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2588" y="334963"/>
            <a:ext cx="6492875" cy="6157912"/>
          </a:xfrm>
        </p:spPr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B98A59D-123E-5748-BCE5-F090EB559309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4350B91-35CE-988A-5E82-9ED0929BBF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681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2" userDrawn="1">
          <p15:clr>
            <a:srgbClr val="FBAE40"/>
          </p15:clr>
        </p15:guide>
        <p15:guide id="2" pos="240" userDrawn="1">
          <p15:clr>
            <a:srgbClr val="FBAE40"/>
          </p15:clr>
        </p15:guide>
        <p15:guide id="3" orient="horz" pos="4104" userDrawn="1">
          <p15:clr>
            <a:srgbClr val="FBAE40"/>
          </p15:clr>
        </p15:guide>
        <p15:guide id="4" pos="4344" userDrawn="1">
          <p15:clr>
            <a:srgbClr val="FBAE40"/>
          </p15:clr>
        </p15:guide>
        <p15:guide id="5" pos="4560" userDrawn="1">
          <p15:clr>
            <a:srgbClr val="FBAE40"/>
          </p15:clr>
        </p15:guide>
        <p15:guide id="6" pos="7296" userDrawn="1">
          <p15:clr>
            <a:srgbClr val="FBAE40"/>
          </p15:clr>
        </p15:guide>
        <p15:guide id="7" orient="horz" pos="1320" userDrawn="1">
          <p15:clr>
            <a:srgbClr val="FBAE40"/>
          </p15:clr>
        </p15:guide>
        <p15:guide id="8" orient="horz" pos="326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318FC55D-C4A7-8F45-8F50-2EAE7BCFD47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78680" y="334963"/>
            <a:ext cx="6492875" cy="6157912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803396"/>
            <a:ext cx="4300921" cy="3092696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983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2" userDrawn="1">
          <p15:clr>
            <a:srgbClr val="FBAE40"/>
          </p15:clr>
        </p15:guide>
        <p15:guide id="2" pos="384" userDrawn="1">
          <p15:clr>
            <a:srgbClr val="FBAE40"/>
          </p15:clr>
        </p15:guide>
        <p15:guide id="3" orient="horz" pos="4104" userDrawn="1">
          <p15:clr>
            <a:srgbClr val="FBAE40"/>
          </p15:clr>
        </p15:guide>
        <p15:guide id="4" pos="3096" userDrawn="1">
          <p15:clr>
            <a:srgbClr val="FBAE40"/>
          </p15:clr>
        </p15:guide>
        <p15:guide id="5" pos="3312" userDrawn="1">
          <p15:clr>
            <a:srgbClr val="FBAE40"/>
          </p15:clr>
        </p15:guide>
        <p15:guide id="6" pos="7416" userDrawn="1">
          <p15:clr>
            <a:srgbClr val="FBAE40"/>
          </p15:clr>
        </p15:guide>
        <p15:guide id="7" orient="horz" pos="1128" userDrawn="1">
          <p15:clr>
            <a:srgbClr val="FBAE40"/>
          </p15:clr>
        </p15:guide>
        <p15:guide id="8" orient="horz" pos="3096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around each other&#10;&#10;Description automatically generated">
            <a:extLst>
              <a:ext uri="{FF2B5EF4-FFF2-40B4-BE49-F238E27FC236}">
                <a16:creationId xmlns:a16="http://schemas.microsoft.com/office/drawing/2014/main" id="{46E58B8C-779F-184B-97E6-77B9C082B6B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2" y="4443413"/>
            <a:ext cx="12192000" cy="1914525"/>
          </a:xfrm>
          <a:prstGeom prst="rect">
            <a:avLst/>
          </a:prstGeom>
          <a:noFill/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463924" y="4795479"/>
            <a:ext cx="6333017" cy="848085"/>
          </a:xfrm>
        </p:spPr>
        <p:txBody>
          <a:bodyPr/>
          <a:lstStyle>
            <a:lvl1pPr marL="0" indent="0" algn="r">
              <a:buNone/>
              <a:defRPr sz="4400" b="0" i="0">
                <a:solidFill>
                  <a:schemeClr val="bg2"/>
                </a:solidFill>
                <a:latin typeface="+mj-lt"/>
                <a:ea typeface="Roboto Slab Light" pitchFamily="2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294459" y="5688921"/>
            <a:ext cx="3443288" cy="577850"/>
          </a:xfrm>
        </p:spPr>
        <p:txBody>
          <a:bodyPr/>
          <a:lstStyle>
            <a:lvl1pPr marL="0" indent="0" algn="r">
              <a:buNone/>
              <a:defRPr sz="2200" b="0" i="1">
                <a:solidFill>
                  <a:schemeClr val="bg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ubhead or Date</a:t>
            </a: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5463924" y="5566679"/>
            <a:ext cx="6267235" cy="308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04B8D28-42EA-6143-800E-36A8631DDDED}"/>
              </a:ext>
            </a:extLst>
          </p:cNvPr>
          <p:cNvSpPr/>
          <p:nvPr/>
        </p:nvSpPr>
        <p:spPr>
          <a:xfrm>
            <a:off x="-20514" y="4443413"/>
            <a:ext cx="2212094" cy="191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7EE6BAF-86B0-E654-40C3-B24271A5435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3292" y="4857750"/>
            <a:ext cx="1744481" cy="1085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348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D600153-8EBE-D644-84CE-423CC7DBB03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E41F5D6-71C7-8540-A903-95BE29BA587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7000">
                <a:schemeClr val="accent1">
                  <a:alpha val="90000"/>
                </a:schemeClr>
              </a:gs>
              <a:gs pos="99000">
                <a:schemeClr val="accent1">
                  <a:alpha val="2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3616960"/>
            <a:ext cx="8605520" cy="1312075"/>
          </a:xfrm>
        </p:spPr>
        <p:txBody>
          <a:bodyPr anchor="b" anchorCtr="0"/>
          <a:lstStyle>
            <a:lvl1pPr algn="l">
              <a:defRPr sz="4800" b="0" i="0">
                <a:solidFill>
                  <a:schemeClr val="bg2">
                    <a:lumMod val="25000"/>
                  </a:schemeClr>
                </a:solidFill>
                <a:latin typeface="+mj-lt"/>
                <a:ea typeface="Roboto Slab Light" pitchFamily="2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EB26B32-06CE-7743-B082-7648A0284080}"/>
              </a:ext>
            </a:extLst>
          </p:cNvPr>
          <p:cNvSpPr txBox="1">
            <a:spLocks/>
          </p:cNvSpPr>
          <p:nvPr/>
        </p:nvSpPr>
        <p:spPr>
          <a:xfrm>
            <a:off x="650240" y="4953000"/>
            <a:ext cx="8227542" cy="13120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i="0" kern="120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endParaRPr lang="en-US" sz="3600" b="0" i="0">
              <a:cs typeface="Open Sans" panose="020B060603050402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A921F85-DFB0-C94F-B82E-F2E18576B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6113" y="5029200"/>
            <a:ext cx="8251825" cy="1238250"/>
          </a:xfrm>
        </p:spPr>
        <p:txBody>
          <a:bodyPr anchor="t" anchorCtr="0"/>
          <a:lstStyle>
            <a:lvl1pPr marL="0" indent="0">
              <a:buNone/>
              <a:defRPr sz="3200" b="0" i="1">
                <a:solidFill>
                  <a:schemeClr val="bg2">
                    <a:lumMod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sub tit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D5B4C1B-8876-3431-273A-2A183C6649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1330" y="590551"/>
            <a:ext cx="2299450" cy="143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105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Op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6E58B8C-779F-184B-97E6-77B9C082B6B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2" y="4443413"/>
            <a:ext cx="12192000" cy="1914525"/>
          </a:xfrm>
          <a:prstGeom prst="rect">
            <a:avLst/>
          </a:prstGeom>
          <a:noFill/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463924" y="4795479"/>
            <a:ext cx="6333017" cy="848085"/>
          </a:xfrm>
        </p:spPr>
        <p:txBody>
          <a:bodyPr/>
          <a:lstStyle>
            <a:lvl1pPr marL="0" indent="0" algn="r">
              <a:buNone/>
              <a:defRPr sz="4400" b="0" i="0">
                <a:solidFill>
                  <a:schemeClr val="bg2"/>
                </a:solidFill>
                <a:latin typeface="+mj-lt"/>
                <a:ea typeface="Roboto Slab Light" pitchFamily="2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294459" y="5688921"/>
            <a:ext cx="3443288" cy="577850"/>
          </a:xfrm>
        </p:spPr>
        <p:txBody>
          <a:bodyPr/>
          <a:lstStyle>
            <a:lvl1pPr marL="0" indent="0" algn="r">
              <a:buNone/>
              <a:defRPr sz="2200" b="0" i="1">
                <a:solidFill>
                  <a:schemeClr val="bg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ubhead or Date</a:t>
            </a: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5463924" y="5566679"/>
            <a:ext cx="6267235" cy="308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04B8D28-42EA-6143-800E-36A8631DDDED}"/>
              </a:ext>
            </a:extLst>
          </p:cNvPr>
          <p:cNvSpPr/>
          <p:nvPr/>
        </p:nvSpPr>
        <p:spPr>
          <a:xfrm>
            <a:off x="-20514" y="4443413"/>
            <a:ext cx="2212094" cy="191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D56747C-94AA-A8D7-4CC8-F7BD2D7615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3292" y="4857750"/>
            <a:ext cx="1744481" cy="1085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340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Op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2C3C990-91EF-DB46-9027-FA2760C960B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036" y="-27432"/>
            <a:ext cx="12206036" cy="688543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E41F5D6-71C7-8540-A903-95BE29BA587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7000">
                <a:schemeClr val="accent1">
                  <a:alpha val="90000"/>
                </a:schemeClr>
              </a:gs>
              <a:gs pos="99000">
                <a:schemeClr val="accent1">
                  <a:alpha val="2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3616960"/>
            <a:ext cx="8575040" cy="1312075"/>
          </a:xfrm>
        </p:spPr>
        <p:txBody>
          <a:bodyPr anchor="b" anchorCtr="0"/>
          <a:lstStyle>
            <a:lvl1pPr algn="l">
              <a:defRPr sz="4800" b="0" i="0">
                <a:solidFill>
                  <a:schemeClr val="bg2">
                    <a:lumMod val="25000"/>
                  </a:schemeClr>
                </a:solidFill>
                <a:latin typeface="+mj-lt"/>
                <a:ea typeface="Roboto Slab Light" pitchFamily="2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EB26B32-06CE-7743-B082-7648A0284080}"/>
              </a:ext>
            </a:extLst>
          </p:cNvPr>
          <p:cNvSpPr txBox="1">
            <a:spLocks/>
          </p:cNvSpPr>
          <p:nvPr/>
        </p:nvSpPr>
        <p:spPr>
          <a:xfrm>
            <a:off x="650240" y="4953000"/>
            <a:ext cx="8227542" cy="13120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i="0" kern="120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endParaRPr lang="en-US" sz="3600" b="0" i="0">
              <a:cs typeface="Open Sans" panose="020B060603050402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A921F85-DFB0-C94F-B82E-F2E18576B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6113" y="5029200"/>
            <a:ext cx="8251825" cy="1238250"/>
          </a:xfrm>
        </p:spPr>
        <p:txBody>
          <a:bodyPr anchor="t" anchorCtr="0"/>
          <a:lstStyle>
            <a:lvl1pPr marL="0" indent="0">
              <a:buNone/>
              <a:defRPr sz="3200" b="0" i="1">
                <a:solidFill>
                  <a:schemeClr val="bg2">
                    <a:lumMod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sub tit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26BC9CF-C5C7-19C0-E4BC-F30A5B0798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1330" y="590551"/>
            <a:ext cx="2299450" cy="143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960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E41F5D6-71C7-8540-A903-95BE29BA587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4B70C23-CE74-FE49-A806-7EA59C5E469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tretch>
            <a:fillRect/>
          </a:stretch>
        </p:blipFill>
        <p:spPr>
          <a:xfrm>
            <a:off x="2780780" y="0"/>
            <a:ext cx="807893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3616960"/>
            <a:ext cx="8759554" cy="1312075"/>
          </a:xfrm>
        </p:spPr>
        <p:txBody>
          <a:bodyPr anchor="b" anchorCtr="0"/>
          <a:lstStyle>
            <a:lvl1pPr algn="l">
              <a:defRPr sz="4800" b="0" i="0">
                <a:solidFill>
                  <a:schemeClr val="bg2">
                    <a:lumMod val="25000"/>
                  </a:schemeClr>
                </a:solidFill>
                <a:latin typeface="+mj-lt"/>
                <a:ea typeface="Roboto Slab Thin" pitchFamily="2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EB26B32-06CE-7743-B082-7648A0284080}"/>
              </a:ext>
            </a:extLst>
          </p:cNvPr>
          <p:cNvSpPr txBox="1">
            <a:spLocks/>
          </p:cNvSpPr>
          <p:nvPr/>
        </p:nvSpPr>
        <p:spPr>
          <a:xfrm>
            <a:off x="650240" y="4953000"/>
            <a:ext cx="8227542" cy="13120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i="0" kern="120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endParaRPr lang="en-US" sz="3600" b="0" i="0">
              <a:cs typeface="Open Sans" panose="020B060603050402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A921F85-DFB0-C94F-B82E-F2E18576B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6113" y="5029200"/>
            <a:ext cx="8759554" cy="1238250"/>
          </a:xfrm>
        </p:spPr>
        <p:txBody>
          <a:bodyPr anchor="t" anchorCtr="0"/>
          <a:lstStyle>
            <a:lvl1pPr marL="0" indent="0">
              <a:buNone/>
              <a:defRPr sz="3200" b="0" i="1">
                <a:solidFill>
                  <a:schemeClr val="bg2">
                    <a:lumMod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sub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46D4E3C-7F9C-880F-4424-22C22CA606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1330" y="590551"/>
            <a:ext cx="2299450" cy="143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46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25120"/>
            <a:ext cx="9469120" cy="56896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10972800" cy="4648199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F4440FD-3414-374B-A9AC-A45E138B26C4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14A4EFA-8C19-2E47-B95C-A64B7FFD6716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D253C39-5D5C-0942-AF66-9A859B409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965200"/>
            <a:ext cx="9490075" cy="28416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0B7DE28-5581-D231-8115-332BCBBA55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48337B1-E69B-F5F0-A30A-E3661DF3B8F8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F34A7FC-CDAD-A8D9-229C-EC9B63E8AAC5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443C73D5-BAE5-3E25-81A0-19B55D8995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981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391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10972800" cy="4648199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F4440FD-3414-374B-A9AC-A45E138B26C4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14A4EFA-8C19-2E47-B95C-A64B7FFD6716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5CBDB16C-FCE1-654B-A8B0-03B0C3BDA9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320"/>
            <a:ext cx="9469120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73B8F32-84C1-6145-9135-8814C97CD2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792480"/>
            <a:ext cx="9490075" cy="42640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7F8071D-62CF-B3AA-6EB8-2933D34072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1E6C3D7-22B2-9778-1AD4-FEC79D6DE95C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3D023E8-F59D-FE78-9DF7-2419FC8613C3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C91742B5-147F-8629-BCA9-B02D036E0D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804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391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9FEABE-3AFB-8149-8319-459E7E20C7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2286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2286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2286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286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Open Sans Light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01BFFE-8BB7-C54B-B1C7-E8CEFEC397A4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790DA94-B1B1-F540-B236-89961D005175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5149A5D1-1E27-3449-8A9D-C212D7E5C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5095"/>
            <a:ext cx="9499600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C87D7E4-C7D3-33A6-C205-BF49A873BF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BE70B37-3F9A-3305-0A74-CDF42EA6BE51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59206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2286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2286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2286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286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Open Sans Light"/>
              <a:ea typeface="Open Sans" pitchFamily="2" charset="0"/>
              <a:cs typeface="Open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3720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43932DE-E5D4-BC4D-BF53-046E2F877CF3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5" name="Picture 11">
            <a:extLst>
              <a:ext uri="{FF2B5EF4-FFF2-40B4-BE49-F238E27FC236}">
                <a16:creationId xmlns:a16="http://schemas.microsoft.com/office/drawing/2014/main" id="{CCE1327B-D819-4F42-A28E-6506B8207F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51873" y="273396"/>
            <a:ext cx="1162948" cy="81172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9FEABE-3AFB-8149-8319-459E7E20C7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2286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2286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2286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286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Open Sans Light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01BFFE-8BB7-C54B-B1C7-E8CEFEC397A4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86B9C39-3930-0642-8851-75ED3365A3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25120"/>
            <a:ext cx="9469120" cy="56896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81F3A1-E986-E642-A06A-620E378A355F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4A91B707-11BE-AD43-B13E-0FAB91299C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965200"/>
            <a:ext cx="9490075" cy="28416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DE0278F-90F4-C614-C834-B4489B3CCF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BB31BBF-CD76-C911-5539-E6C5D413F9C5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359206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2286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2286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2286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286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Open Sans Light"/>
              <a:ea typeface="Open Sans" pitchFamily="2" charset="0"/>
              <a:cs typeface="Open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2471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9FEABE-3AFB-8149-8319-459E7E20C7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2286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2286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2286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286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Open Sans Light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01BFFE-8BB7-C54B-B1C7-E8CEFEC397A4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81F3A1-E986-E642-A06A-620E378A355F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42501A62-76E2-DD4B-90E6-E5FE9B329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320"/>
            <a:ext cx="9469120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5DAB394-EDF1-5D48-920C-20021D8EF0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2480"/>
            <a:ext cx="9490075" cy="42640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A73EDE9-E753-AC30-F3A1-835BB1888E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FEC7BE1-8207-53F3-6D92-94A74605FA06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359206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2286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2286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2286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286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Open Sans Light"/>
              <a:ea typeface="Open Sans" pitchFamily="2" charset="0"/>
              <a:cs typeface="Open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7191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0F0C48C-6419-E542-9E66-3B49E2C31F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77967"/>
            <a:ext cx="3393440" cy="4629476"/>
          </a:xfrm>
        </p:spPr>
        <p:txBody>
          <a:bodyPr anchor="t" anchorCtr="0"/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2286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2286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2286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286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Open Sans Light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12AFBBA-0440-664F-9718-A67967B2629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9928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6D8D87D-5760-5145-A3C9-CE4D5B30DC7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8896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9D7C00-1E28-464B-8EF2-9AE735767BD5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721B0F-1544-B342-8ED3-E88A03FB306F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945F7755-2DA8-0A4A-B346-37B838F8F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5095"/>
            <a:ext cx="9499600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5654BFD-DB60-606E-0651-61D9A7EC8F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943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391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0F0C48C-6419-E542-9E66-3B49E2C31F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12AFBBA-0440-664F-9718-A67967B2629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9928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6D8D87D-5760-5145-A3C9-CE4D5B30DC7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8896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9D7C00-1E28-464B-8EF2-9AE735767BD5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3832153-8289-6948-9B14-0F51FAF7A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25120"/>
            <a:ext cx="9469120" cy="56896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443D2C-157D-5A47-A20F-2B23B6782CE1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4BF11BC-523B-124E-8A1E-C9ADCE3E1B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965200"/>
            <a:ext cx="9490075" cy="28416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3BDBEED-4242-B3D2-0C81-52E8F6D36C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74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391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0F0C48C-6419-E542-9E66-3B49E2C31F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12AFBBA-0440-664F-9718-A67967B2629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9928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6D8D87D-5760-5145-A3C9-CE4D5B30DC7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8896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9D7C00-1E28-464B-8EF2-9AE735767BD5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443D2C-157D-5A47-A20F-2B23B6782CE1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7BB336AE-C178-AC43-84E5-33C29412B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320"/>
            <a:ext cx="9469120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53D86292-7698-6646-8991-2844CE386B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792480"/>
            <a:ext cx="9490075" cy="42640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3816E19-81FB-E44B-A0FC-08B5482069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35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3912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kinny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2471" y="1562100"/>
            <a:ext cx="6859930" cy="4614863"/>
          </a:xfrm>
        </p:spPr>
        <p:txBody>
          <a:bodyPr anchor="t" anchorCtr="0"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0"/>
            <a:ext cx="3789363" cy="619283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24C16E0-92CF-6F41-9635-C97091D349D8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9D72E9D-EE6F-134E-B5A9-2FB8729C9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399" y="175095"/>
            <a:ext cx="5009909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21C70C-B746-1148-A493-2776B1A321A0}"/>
              </a:ext>
            </a:extLst>
          </p:cNvPr>
          <p:cNvCxnSpPr>
            <a:cxnSpLocks/>
          </p:cNvCxnSpPr>
          <p:nvPr/>
        </p:nvCxnSpPr>
        <p:spPr>
          <a:xfrm>
            <a:off x="4724400" y="1356038"/>
            <a:ext cx="5760720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E2DF696C-F86A-E6FD-52C3-E5DBA17269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513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12">
          <p15:clr>
            <a:srgbClr val="FBAE40"/>
          </p15:clr>
        </p15:guide>
        <p15:guide id="2" pos="384">
          <p15:clr>
            <a:srgbClr val="FBAE40"/>
          </p15:clr>
        </p15:guide>
        <p15:guide id="3" pos="2784">
          <p15:clr>
            <a:srgbClr val="FBAE40"/>
          </p15:clr>
        </p15:guide>
        <p15:guide id="4" orient="horz" pos="984">
          <p15:clr>
            <a:srgbClr val="FBAE40"/>
          </p15:clr>
        </p15:guide>
        <p15:guide id="5" pos="2976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kinny Photo Lef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2471" y="1562100"/>
            <a:ext cx="6859930" cy="4614863"/>
          </a:xfrm>
        </p:spPr>
        <p:txBody>
          <a:bodyPr anchor="t" anchorCtr="0"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0"/>
            <a:ext cx="3789363" cy="619283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24C16E0-92CF-6F41-9635-C97091D349D8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21C70C-B746-1148-A493-2776B1A321A0}"/>
              </a:ext>
            </a:extLst>
          </p:cNvPr>
          <p:cNvCxnSpPr>
            <a:cxnSpLocks/>
          </p:cNvCxnSpPr>
          <p:nvPr/>
        </p:nvCxnSpPr>
        <p:spPr>
          <a:xfrm>
            <a:off x="4724400" y="1356038"/>
            <a:ext cx="5760720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949EA303-5278-A449-9440-6A0F1B3BBD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400" y="325120"/>
            <a:ext cx="5354320" cy="56896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EDDC8735-3449-B949-BDF8-6A201B956E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4400" y="965200"/>
            <a:ext cx="5375275" cy="28416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21EEE9-C726-9AEB-F8C8-BFE321119D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45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12">
          <p15:clr>
            <a:srgbClr val="FBAE40"/>
          </p15:clr>
        </p15:guide>
        <p15:guide id="2" pos="384">
          <p15:clr>
            <a:srgbClr val="FBAE40"/>
          </p15:clr>
        </p15:guide>
        <p15:guide id="3" pos="2784">
          <p15:clr>
            <a:srgbClr val="FBAE40"/>
          </p15:clr>
        </p15:guide>
        <p15:guide id="4" orient="horz" pos="984">
          <p15:clr>
            <a:srgbClr val="FBAE40"/>
          </p15:clr>
        </p15:guide>
        <p15:guide id="5" pos="2976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kinny Photo Left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2471" y="1562100"/>
            <a:ext cx="6859930" cy="4614863"/>
          </a:xfrm>
        </p:spPr>
        <p:txBody>
          <a:bodyPr anchor="t" anchorCtr="0"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0"/>
            <a:ext cx="3789363" cy="619283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24C16E0-92CF-6F41-9635-C97091D349D8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21C70C-B746-1148-A493-2776B1A321A0}"/>
              </a:ext>
            </a:extLst>
          </p:cNvPr>
          <p:cNvCxnSpPr>
            <a:cxnSpLocks/>
          </p:cNvCxnSpPr>
          <p:nvPr/>
        </p:nvCxnSpPr>
        <p:spPr>
          <a:xfrm>
            <a:off x="4724400" y="1356038"/>
            <a:ext cx="5760720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53DC57D1-818A-3B48-9EFC-82C14F8DA9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400" y="274320"/>
            <a:ext cx="5354320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76E6F74-E1C4-B548-9A47-4B556FD862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33506" y="792480"/>
            <a:ext cx="5366169" cy="42640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CD6FAC8-E1F2-F235-5D9C-4C9B705CDB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581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12">
          <p15:clr>
            <a:srgbClr val="FBAE40"/>
          </p15:clr>
        </p15:guide>
        <p15:guide id="2" pos="384">
          <p15:clr>
            <a:srgbClr val="FBAE40"/>
          </p15:clr>
        </p15:guide>
        <p15:guide id="3" pos="2784">
          <p15:clr>
            <a:srgbClr val="FBAE40"/>
          </p15:clr>
        </p15:guide>
        <p15:guide id="4" orient="horz" pos="984">
          <p15:clr>
            <a:srgbClr val="FBAE40"/>
          </p15:clr>
        </p15:guide>
        <p15:guide id="5" pos="2976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5095"/>
            <a:ext cx="9499600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10972800" cy="4648199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F4440FD-3414-374B-A9AC-A45E138B26C4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14A4EFA-8C19-2E47-B95C-A64B7FFD6716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A71ED6BF-F047-F643-BADC-3C6C752935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A2AB1E8-101F-C7AB-4A52-7F5AD23CBC24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272BE83-690B-3FBE-A6A9-1E6F6EC0AA71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DA8FFC9C-8C94-AEB8-1D02-389DDF57D0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74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orient="horz" pos="984" userDrawn="1">
          <p15:clr>
            <a:srgbClr val="FBAE40"/>
          </p15:clr>
        </p15:guide>
        <p15:guide id="6" pos="384" userDrawn="1">
          <p15:clr>
            <a:srgbClr val="FBAE40"/>
          </p15:clr>
        </p15:guide>
        <p15:guide id="7" pos="7296" userDrawn="1">
          <p15:clr>
            <a:srgbClr val="FBAE40"/>
          </p15:clr>
        </p15:guide>
        <p15:guide id="8" orient="horz" pos="3912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kinny Photo Righ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66613" y="0"/>
            <a:ext cx="3815787" cy="619283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6859082" cy="4614863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B21A11F-F3C0-A247-A60C-BE67729A030A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690767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C054A52C-27BC-0341-BC40-DC426058B2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25120"/>
            <a:ext cx="6896100" cy="56896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82369CF-5403-4E40-8CD7-4FFD11F5C5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1" y="965200"/>
            <a:ext cx="6896100" cy="28416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323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4" orient="horz" pos="3912">
          <p15:clr>
            <a:srgbClr val="FBAE40"/>
          </p15:clr>
        </p15:guide>
        <p15:guide id="5" pos="4728">
          <p15:clr>
            <a:srgbClr val="FBAE40"/>
          </p15:clr>
        </p15:guide>
        <p15:guide id="6" pos="4896">
          <p15:clr>
            <a:srgbClr val="FBAE40"/>
          </p15:clr>
        </p15:guide>
        <p15:guide id="7" pos="729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(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1535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kinny Photo Right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66613" y="0"/>
            <a:ext cx="3815787" cy="619283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6859082" cy="4614863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B21A11F-F3C0-A247-A60C-BE67729A030A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690767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E1529B8E-E21A-8543-BDAB-7D936F152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320"/>
            <a:ext cx="6880873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9701E11-0FE4-7548-B605-B4E42F2714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1" y="792480"/>
            <a:ext cx="6896100" cy="42640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519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4" orient="horz" pos="3912">
          <p15:clr>
            <a:srgbClr val="FBAE40"/>
          </p15:clr>
        </p15:guide>
        <p15:guide id="5" pos="4728">
          <p15:clr>
            <a:srgbClr val="FBAE40"/>
          </p15:clr>
        </p15:guide>
        <p15:guide id="6" pos="4896">
          <p15:clr>
            <a:srgbClr val="FBAE40"/>
          </p15:clr>
        </p15:guide>
        <p15:guide id="7" pos="729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7327" y="2095500"/>
            <a:ext cx="4325074" cy="3078384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318FC55D-C4A7-8F45-8F50-2EAE7BCFD47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2588" y="334963"/>
            <a:ext cx="6492875" cy="61579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B98A59D-123E-5748-BCE5-F090EB559309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4350B91-35CE-988A-5E82-9ED0929BBF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069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2">
          <p15:clr>
            <a:srgbClr val="FBAE40"/>
          </p15:clr>
        </p15:guide>
        <p15:guide id="2" pos="240">
          <p15:clr>
            <a:srgbClr val="FBAE40"/>
          </p15:clr>
        </p15:guide>
        <p15:guide id="3" orient="horz" pos="4104">
          <p15:clr>
            <a:srgbClr val="FBAE40"/>
          </p15:clr>
        </p15:guide>
        <p15:guide id="4" pos="4344">
          <p15:clr>
            <a:srgbClr val="FBAE40"/>
          </p15:clr>
        </p15:guide>
        <p15:guide id="5" pos="4560">
          <p15:clr>
            <a:srgbClr val="FBAE40"/>
          </p15:clr>
        </p15:guide>
        <p15:guide id="6" pos="7296">
          <p15:clr>
            <a:srgbClr val="FBAE40"/>
          </p15:clr>
        </p15:guide>
        <p15:guide id="7" orient="horz" pos="1320">
          <p15:clr>
            <a:srgbClr val="FBAE40"/>
          </p15:clr>
        </p15:guide>
        <p15:guide id="8" orient="horz" pos="326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318FC55D-C4A7-8F45-8F50-2EAE7BCFD47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78680" y="334963"/>
            <a:ext cx="6492875" cy="61579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803396"/>
            <a:ext cx="4300921" cy="3092696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2687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2">
          <p15:clr>
            <a:srgbClr val="FBAE40"/>
          </p15:clr>
        </p15:guide>
        <p15:guide id="2" pos="384">
          <p15:clr>
            <a:srgbClr val="FBAE40"/>
          </p15:clr>
        </p15:guide>
        <p15:guide id="3" orient="horz" pos="4104">
          <p15:clr>
            <a:srgbClr val="FBAE40"/>
          </p15:clr>
        </p15:guide>
        <p15:guide id="4" pos="3096">
          <p15:clr>
            <a:srgbClr val="FBAE40"/>
          </p15:clr>
        </p15:guide>
        <p15:guide id="5" pos="3312">
          <p15:clr>
            <a:srgbClr val="FBAE40"/>
          </p15:clr>
        </p15:guide>
        <p15:guide id="6" pos="7416">
          <p15:clr>
            <a:srgbClr val="FBAE40"/>
          </p15:clr>
        </p15:guide>
        <p15:guide id="7" orient="horz" pos="1128">
          <p15:clr>
            <a:srgbClr val="FBAE40"/>
          </p15:clr>
        </p15:guide>
        <p15:guide id="8" orient="horz" pos="309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2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22B734-346C-A938-5518-B6039C2208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03363" y="1147763"/>
            <a:ext cx="8940800" cy="4176712"/>
          </a:xfrm>
        </p:spPr>
        <p:txBody>
          <a:bodyPr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F8B6C5-BE26-96AB-9D43-0A3A3AAB97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3363" y="5597525"/>
            <a:ext cx="8940800" cy="752475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sz="2400"/>
              <a:t>— Attribu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1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solidFill>
          <a:schemeClr val="bg2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026AB21F-2F30-1FE3-6171-BBD7CF60AA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64076" y="5247481"/>
            <a:ext cx="1463848" cy="91117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4D791E-D2A2-4EAA-F215-B538380A14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1708970"/>
            <a:ext cx="3352800" cy="276998"/>
          </a:xfrm>
        </p:spPr>
        <p:txBody>
          <a:bodyPr/>
          <a:lstStyle>
            <a:lvl1pPr marL="0" indent="0" algn="ctr">
              <a:buNone/>
              <a:defRPr sz="1400" b="1" spc="3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SECTION NUMB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CA1E4D-1417-8192-DFA9-A11BEB5F03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0638" y="2148687"/>
            <a:ext cx="9844087" cy="911171"/>
          </a:xfrm>
        </p:spPr>
        <p:txBody>
          <a:bodyPr/>
          <a:lstStyle>
            <a:lvl1pPr marL="0" indent="0" algn="ctr">
              <a:buNone/>
              <a:defRPr sz="4800" b="0" i="0">
                <a:solidFill>
                  <a:schemeClr val="bg1"/>
                </a:solidFill>
                <a:latin typeface="Roboto Slab Light" pitchFamily="2" charset="0"/>
                <a:ea typeface="Roboto Slab Light" pitchFamily="2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57745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966518-0B53-0448-A378-BFBA91FB5B7A}"/>
              </a:ext>
            </a:extLst>
          </p:cNvPr>
          <p:cNvSpPr/>
          <p:nvPr userDrawn="1"/>
        </p:nvSpPr>
        <p:spPr>
          <a:xfrm>
            <a:off x="0" y="0"/>
            <a:ext cx="290524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640983-E937-314A-B3A2-6D94622DDCB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666875" y="1608138"/>
            <a:ext cx="2743200" cy="3692525"/>
          </a:xfrm>
          <a:ln w="127000">
            <a:noFill/>
            <a:miter lim="800000"/>
          </a:ln>
        </p:spPr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F07E31C-8290-1A40-A30F-16D9DC22A6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6001" y="2029493"/>
            <a:ext cx="6756400" cy="272005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200" b="0" i="0">
                <a:latin typeface="Roboto Slab Light" pitchFamily="2" charset="0"/>
                <a:ea typeface="Roboto Slab Light" pitchFamily="2" charset="0"/>
              </a:defRPr>
            </a:lvl1pPr>
          </a:lstStyle>
          <a:p>
            <a:pPr lvl="0"/>
            <a:r>
              <a:rPr lang="en-US"/>
              <a:t>“Quote.”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3DC3D47-848D-FB41-9D89-A789C15C5A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26001" y="4868696"/>
            <a:ext cx="6756400" cy="427204"/>
          </a:xfrm>
        </p:spPr>
        <p:txBody>
          <a:bodyPr tIns="91440">
            <a:noAutofit/>
          </a:bodyPr>
          <a:lstStyle>
            <a:lvl1pPr marL="0" indent="0">
              <a:lnSpc>
                <a:spcPts val="880"/>
              </a:lnSpc>
              <a:buNone/>
              <a:defRPr sz="1400" i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Attribu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D9C8ABF-840F-C244-8C12-AAE9A6944A58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BA87FFA-3859-BD9A-8CA0-C87F880074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250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08" userDrawn="1">
          <p15:clr>
            <a:srgbClr val="FBAE40"/>
          </p15:clr>
        </p15:guide>
        <p15:guide id="2" pos="3024" userDrawn="1">
          <p15:clr>
            <a:srgbClr val="FBAE40"/>
          </p15:clr>
        </p15:guide>
        <p15:guide id="3" pos="1056" userDrawn="1">
          <p15:clr>
            <a:srgbClr val="FBAE40"/>
          </p15:clr>
        </p15:guide>
        <p15:guide id="4" orient="horz" pos="1272" userDrawn="1">
          <p15:clr>
            <a:srgbClr val="FBAE40"/>
          </p15:clr>
        </p15:guide>
        <p15:guide id="5" orient="horz" pos="3000" userDrawn="1">
          <p15:clr>
            <a:srgbClr val="FBAE40"/>
          </p15:clr>
        </p15:guide>
        <p15:guide id="6" orient="horz" pos="3072" userDrawn="1">
          <p15:clr>
            <a:srgbClr val="FBAE40"/>
          </p15:clr>
        </p15:guide>
        <p15:guide id="7" orient="horz" pos="3336" userDrawn="1">
          <p15:clr>
            <a:srgbClr val="FBAE40"/>
          </p15:clr>
        </p15:guide>
        <p15:guide id="8" orient="horz" pos="3360" userDrawn="1">
          <p15:clr>
            <a:srgbClr val="FBAE40"/>
          </p15:clr>
        </p15:guide>
        <p15:guide id="9" pos="7296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966518-0B53-0448-A378-BFBA91FB5B7A}"/>
              </a:ext>
            </a:extLst>
          </p:cNvPr>
          <p:cNvSpPr/>
          <p:nvPr userDrawn="1"/>
        </p:nvSpPr>
        <p:spPr>
          <a:xfrm>
            <a:off x="0" y="0"/>
            <a:ext cx="83312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F07E31C-8290-1A40-A30F-16D9DC22A6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3361" y="1548050"/>
            <a:ext cx="7955280" cy="272005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200" b="0" i="0">
                <a:latin typeface="Roboto Slab Light" pitchFamily="2" charset="0"/>
                <a:ea typeface="Roboto Slab Light" pitchFamily="2" charset="0"/>
              </a:defRPr>
            </a:lvl1pPr>
          </a:lstStyle>
          <a:p>
            <a:pPr lvl="0"/>
            <a:r>
              <a:rPr lang="en-US"/>
              <a:t>“Quote.”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3DC3D47-848D-FB41-9D89-A789C15C5A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3361" y="4407218"/>
            <a:ext cx="7955280" cy="404812"/>
          </a:xfrm>
        </p:spPr>
        <p:txBody>
          <a:bodyPr tIns="91440">
            <a:noAutofit/>
          </a:bodyPr>
          <a:lstStyle>
            <a:lvl1pPr marL="0" indent="0">
              <a:lnSpc>
                <a:spcPts val="880"/>
              </a:lnSpc>
              <a:buNone/>
              <a:defRPr sz="1400" i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Attrib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E7D37EF-F47E-7646-A640-53C869243F0F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A77745-9FC9-1412-00DF-C2B7847590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969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60" userDrawn="1">
          <p15:clr>
            <a:srgbClr val="FBAE40"/>
          </p15:clr>
        </p15:guide>
        <p15:guide id="2" pos="936" userDrawn="1">
          <p15:clr>
            <a:srgbClr val="FBAE40"/>
          </p15:clr>
        </p15:guide>
        <p15:guide id="3" pos="5952" userDrawn="1">
          <p15:clr>
            <a:srgbClr val="FBAE40"/>
          </p15:clr>
        </p15:guide>
        <p15:guide id="4" orient="horz" pos="2688" userDrawn="1">
          <p15:clr>
            <a:srgbClr val="FBAE40"/>
          </p15:clr>
        </p15:guide>
        <p15:guide id="5" orient="horz" pos="2760" userDrawn="1">
          <p15:clr>
            <a:srgbClr val="FBAE40"/>
          </p15:clr>
        </p15:guide>
        <p15:guide id="6" orient="horz" pos="3024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0F14312-84C0-444B-A37B-78B6E7600AE4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468927D-873E-6F5C-21DE-8BB60E3898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61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bg>
      <p:bgPr>
        <a:solidFill>
          <a:schemeClr val="bg2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026AB21F-2F30-1FE3-6171-BBD7CF60AA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64076" y="5247481"/>
            <a:ext cx="1463848" cy="91117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4D791E-D2A2-4EAA-F215-B538380A14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1708970"/>
            <a:ext cx="3352800" cy="276998"/>
          </a:xfrm>
        </p:spPr>
        <p:txBody>
          <a:bodyPr/>
          <a:lstStyle>
            <a:lvl1pPr marL="0" indent="0" algn="ctr">
              <a:buNone/>
              <a:defRPr sz="1400" b="1" spc="3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SECTION NUMB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CA1E4D-1417-8192-DFA9-A11BEB5F03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0638" y="2148687"/>
            <a:ext cx="9844087" cy="911171"/>
          </a:xfrm>
        </p:spPr>
        <p:txBody>
          <a:bodyPr/>
          <a:lstStyle>
            <a:lvl1pPr marL="0" indent="0" algn="ctr">
              <a:buNone/>
              <a:defRPr sz="4800" b="0" i="0">
                <a:solidFill>
                  <a:schemeClr val="bg1"/>
                </a:solidFill>
                <a:latin typeface="Roboto Slab Light" pitchFamily="2" charset="0"/>
                <a:ea typeface="Roboto Slab Light" pitchFamily="2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19464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966518-0B53-0448-A378-BFBA91FB5B7A}"/>
              </a:ext>
            </a:extLst>
          </p:cNvPr>
          <p:cNvSpPr/>
          <p:nvPr/>
        </p:nvSpPr>
        <p:spPr>
          <a:xfrm>
            <a:off x="0" y="0"/>
            <a:ext cx="290524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640983-E937-314A-B3A2-6D94622DDCB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666875" y="1608138"/>
            <a:ext cx="2743200" cy="3692525"/>
          </a:xfrm>
          <a:ln w="127000">
            <a:noFill/>
            <a:miter lim="800000"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F07E31C-8290-1A40-A30F-16D9DC22A6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6001" y="2029493"/>
            <a:ext cx="6756400" cy="272005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200" b="0" i="0">
                <a:latin typeface="Roboto Slab Light" pitchFamily="2" charset="0"/>
                <a:ea typeface="Roboto Slab Light" pitchFamily="2" charset="0"/>
              </a:defRPr>
            </a:lvl1pPr>
          </a:lstStyle>
          <a:p>
            <a:pPr lvl="0"/>
            <a:r>
              <a:rPr lang="en-US"/>
              <a:t>“Quote.”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3DC3D47-848D-FB41-9D89-A789C15C5A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26001" y="4868696"/>
            <a:ext cx="6756400" cy="427204"/>
          </a:xfrm>
        </p:spPr>
        <p:txBody>
          <a:bodyPr tIns="91440">
            <a:noAutofit/>
          </a:bodyPr>
          <a:lstStyle>
            <a:lvl1pPr marL="0" indent="0">
              <a:lnSpc>
                <a:spcPts val="880"/>
              </a:lnSpc>
              <a:buNone/>
              <a:defRPr sz="1400" i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Attribu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D9C8ABF-840F-C244-8C12-AAE9A6944A58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BA87FFA-3859-BD9A-8CA0-C87F880074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52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024">
          <p15:clr>
            <a:srgbClr val="FBAE40"/>
          </p15:clr>
        </p15:guide>
        <p15:guide id="3" pos="105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3000">
          <p15:clr>
            <a:srgbClr val="FBAE40"/>
          </p15:clr>
        </p15:guide>
        <p15:guide id="6" orient="horz" pos="3072">
          <p15:clr>
            <a:srgbClr val="FBAE40"/>
          </p15:clr>
        </p15:guide>
        <p15:guide id="7" orient="horz" pos="3336">
          <p15:clr>
            <a:srgbClr val="FBAE40"/>
          </p15:clr>
        </p15:guide>
        <p15:guide id="8" orient="horz" pos="3360">
          <p15:clr>
            <a:srgbClr val="FBAE40"/>
          </p15:clr>
        </p15:guide>
        <p15:guide id="9" pos="729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595C8DC-9014-C540-98C5-01AB2B8B1F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F7B15E-A04E-5549-9C4D-50F46029B8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D2C889-B335-5A4D-B4B7-8F0050AFDC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665974-E1B7-A94A-85EF-DE1149FD67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49186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kinny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66613" y="0"/>
            <a:ext cx="3815787" cy="619283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6859082" cy="4614863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B831997-046F-B544-A9DE-9D1534FA60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5095"/>
            <a:ext cx="6896100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B21A11F-F3C0-A247-A60C-BE67729A030A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690767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8715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4" orient="horz" pos="3912">
          <p15:clr>
            <a:srgbClr val="FBAE40"/>
          </p15:clr>
        </p15:guide>
        <p15:guide id="5" pos="4728">
          <p15:clr>
            <a:srgbClr val="FBAE40"/>
          </p15:clr>
        </p15:guide>
        <p15:guide id="6" pos="4896">
          <p15:clr>
            <a:srgbClr val="FBAE40"/>
          </p15:clr>
        </p15:guide>
        <p15:guide id="7" pos="7296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0F14312-84C0-444B-A37B-78B6E7600AE4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468927D-873E-6F5C-21DE-8BB60E3898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435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6669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4F5234B-206E-8947-ACA6-B098E14C8FB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A3D6B5A-383E-41D5-8F77-DB7ACDD451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60540" y="2597744"/>
            <a:ext cx="2670921" cy="166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338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4F5234B-206E-8947-ACA6-B098E14C8FB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A3D6B5A-383E-41D5-8F77-DB7ACDD451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60540" y="2597744"/>
            <a:ext cx="2670921" cy="166251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3A6D4FBC-A27A-B0EF-3A95-8F410ADD79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92DACD0-02DC-BFE1-48A7-77EAE561A3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60540" y="2597744"/>
            <a:ext cx="2670921" cy="166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444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D6D5218-B400-EBAA-349F-B7934AEA7C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A0CD978-2D5B-D0C4-2115-7867B5E8395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7000">
                <a:schemeClr val="accent1">
                  <a:alpha val="90000"/>
                </a:schemeClr>
              </a:gs>
              <a:gs pos="99000">
                <a:schemeClr val="accent1">
                  <a:alpha val="2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3616960"/>
            <a:ext cx="8227542" cy="1312075"/>
          </a:xfrm>
        </p:spPr>
        <p:txBody>
          <a:bodyPr anchor="b" anchorCtr="0"/>
          <a:lstStyle>
            <a:lvl1pPr algn="l">
              <a:defRPr sz="5400" b="0" i="0">
                <a:solidFill>
                  <a:schemeClr val="bg2">
                    <a:lumMod val="25000"/>
                  </a:schemeClr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EB26B32-06CE-7743-B082-7648A0284080}"/>
              </a:ext>
            </a:extLst>
          </p:cNvPr>
          <p:cNvSpPr txBox="1">
            <a:spLocks/>
          </p:cNvSpPr>
          <p:nvPr userDrawn="1"/>
        </p:nvSpPr>
        <p:spPr>
          <a:xfrm>
            <a:off x="650240" y="4953000"/>
            <a:ext cx="8227542" cy="13120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i="0" kern="120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endParaRPr lang="en-US" sz="3600" i="1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A921F85-DFB0-C94F-B82E-F2E18576B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6113" y="5029200"/>
            <a:ext cx="8251825" cy="1238250"/>
          </a:xfrm>
        </p:spPr>
        <p:txBody>
          <a:bodyPr anchor="t" anchorCtr="0"/>
          <a:lstStyle>
            <a:lvl1pPr marL="0" indent="0">
              <a:buNone/>
              <a:defRPr sz="3200" i="1">
                <a:solidFill>
                  <a:schemeClr val="bg2">
                    <a:lumMod val="25000"/>
                  </a:schemeClr>
                </a:solidFill>
                <a:latin typeface="+mj-lt"/>
              </a:defRPr>
            </a:lvl1pPr>
            <a:lvl2pPr marL="457200" indent="0"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sub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46D4E3C-7F9C-880F-4424-22C22CA6065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1330" y="590551"/>
            <a:ext cx="2299450" cy="143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607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itle and Two Colum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4185" y="377253"/>
            <a:ext cx="11222533" cy="769662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4185" y="1281851"/>
            <a:ext cx="5472662" cy="468499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7754" y="1281851"/>
            <a:ext cx="5468964" cy="4684995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>
          <a:xfrm>
            <a:off x="4876800" y="6356350"/>
            <a:ext cx="2438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EPARTMENT NAME GOES HERE | MARCH 2018</a:t>
            </a:r>
          </a:p>
        </p:txBody>
      </p:sp>
    </p:spTree>
    <p:extLst>
      <p:ext uri="{BB962C8B-B14F-4D97-AF65-F5344CB8AC3E}">
        <p14:creationId xmlns:p14="http://schemas.microsoft.com/office/powerpoint/2010/main" val="3805330138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5095"/>
            <a:ext cx="9499600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10972800" cy="4648199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F4440FD-3414-374B-A9AC-A45E138B26C4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14A4EFA-8C19-2E47-B95C-A64B7FFD6716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A71ED6BF-F047-F643-BADC-3C6C752935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832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 userDrawn="1">
          <p15:clr>
            <a:srgbClr val="FBAE40"/>
          </p15:clr>
        </p15:guide>
        <p15:guide id="2" pos="384" userDrawn="1">
          <p15:clr>
            <a:srgbClr val="FBAE40"/>
          </p15:clr>
        </p15:guide>
        <p15:guide id="3" pos="7296" userDrawn="1">
          <p15:clr>
            <a:srgbClr val="FBAE40"/>
          </p15:clr>
        </p15:guide>
        <p15:guide id="4" orient="horz" pos="3912" userDrawn="1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966518-0B53-0448-A378-BFBA91FB5B7A}"/>
              </a:ext>
            </a:extLst>
          </p:cNvPr>
          <p:cNvSpPr/>
          <p:nvPr/>
        </p:nvSpPr>
        <p:spPr>
          <a:xfrm>
            <a:off x="0" y="0"/>
            <a:ext cx="83312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F07E31C-8290-1A40-A30F-16D9DC22A6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3361" y="1548050"/>
            <a:ext cx="7955280" cy="272005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200" b="0" i="0">
                <a:latin typeface="Roboto Slab Light" pitchFamily="2" charset="0"/>
                <a:ea typeface="Roboto Slab Light" pitchFamily="2" charset="0"/>
              </a:defRPr>
            </a:lvl1pPr>
          </a:lstStyle>
          <a:p>
            <a:pPr lvl="0"/>
            <a:r>
              <a:rPr lang="en-US"/>
              <a:t>“Quote.”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3DC3D47-848D-FB41-9D89-A789C15C5A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3361" y="4407218"/>
            <a:ext cx="7955280" cy="404812"/>
          </a:xfrm>
        </p:spPr>
        <p:txBody>
          <a:bodyPr tIns="91440">
            <a:noAutofit/>
          </a:bodyPr>
          <a:lstStyle>
            <a:lvl1pPr marL="0" indent="0">
              <a:lnSpc>
                <a:spcPts val="880"/>
              </a:lnSpc>
              <a:buNone/>
              <a:defRPr sz="1400" i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Attrib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E7D37EF-F47E-7646-A640-53C869243F0F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A77745-9FC9-1412-00DF-C2B7847590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F5823BE-6034-967A-EC12-1299DCA5888F}"/>
              </a:ext>
            </a:extLst>
          </p:cNvPr>
          <p:cNvSpPr/>
          <p:nvPr userDrawn="1"/>
        </p:nvSpPr>
        <p:spPr>
          <a:xfrm>
            <a:off x="0" y="0"/>
            <a:ext cx="83312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C67FEB5-94B9-6FE8-3F48-916543C3694D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766566B-1B82-AA69-31F3-5C7A81AC41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513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960" userDrawn="1">
          <p15:clr>
            <a:srgbClr val="FBAE40"/>
          </p15:clr>
        </p15:guide>
        <p15:guide id="8" pos="936" userDrawn="1">
          <p15:clr>
            <a:srgbClr val="FBAE40"/>
          </p15:clr>
        </p15:guide>
        <p15:guide id="9" pos="5952" userDrawn="1">
          <p15:clr>
            <a:srgbClr val="FBAE40"/>
          </p15:clr>
        </p15:guide>
        <p15:guide id="10" orient="horz" pos="2688" userDrawn="1">
          <p15:clr>
            <a:srgbClr val="FBAE40"/>
          </p15:clr>
        </p15:guide>
        <p15:guide id="11" orient="horz" pos="2760" userDrawn="1">
          <p15:clr>
            <a:srgbClr val="FBAE40"/>
          </p15:clr>
        </p15:guide>
        <p15:guide id="12" orient="horz" pos="3024" userDrawn="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E41F5D6-71C7-8540-A903-95BE29BA587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4B70C23-CE74-FE49-A806-7EA59C5E469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tretch>
            <a:fillRect/>
          </a:stretch>
        </p:blipFill>
        <p:spPr>
          <a:xfrm>
            <a:off x="2780780" y="0"/>
            <a:ext cx="807893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3616960"/>
            <a:ext cx="8759554" cy="1312075"/>
          </a:xfrm>
        </p:spPr>
        <p:txBody>
          <a:bodyPr anchor="b" anchorCtr="0"/>
          <a:lstStyle>
            <a:lvl1pPr algn="l">
              <a:defRPr sz="4800" b="0" i="0">
                <a:solidFill>
                  <a:schemeClr val="bg2">
                    <a:lumMod val="25000"/>
                  </a:schemeClr>
                </a:solidFill>
                <a:latin typeface="+mj-lt"/>
                <a:ea typeface="Roboto Slab Thin" pitchFamily="2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EB26B32-06CE-7743-B082-7648A0284080}"/>
              </a:ext>
            </a:extLst>
          </p:cNvPr>
          <p:cNvSpPr txBox="1">
            <a:spLocks/>
          </p:cNvSpPr>
          <p:nvPr/>
        </p:nvSpPr>
        <p:spPr>
          <a:xfrm>
            <a:off x="650240" y="4953000"/>
            <a:ext cx="8227542" cy="13120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i="0" kern="120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endParaRPr lang="en-US" sz="3600" b="0" i="0">
              <a:cs typeface="Open Sans" panose="020B060603050402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A921F85-DFB0-C94F-B82E-F2E18576B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6113" y="5029200"/>
            <a:ext cx="8759554" cy="1238250"/>
          </a:xfrm>
        </p:spPr>
        <p:txBody>
          <a:bodyPr anchor="t" anchorCtr="0"/>
          <a:lstStyle>
            <a:lvl1pPr marL="0" indent="0">
              <a:buNone/>
              <a:defRPr sz="3200" b="0" i="1">
                <a:solidFill>
                  <a:schemeClr val="bg2">
                    <a:lumMod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sub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46D4E3C-7F9C-880F-4424-22C22CA606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1330" y="590551"/>
            <a:ext cx="2299450" cy="143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939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 Column (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F08B0038-E0CB-3547-B0AF-32EC07591A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0608" y="1370850"/>
            <a:ext cx="10906337" cy="456363"/>
          </a:xfrm>
        </p:spPr>
        <p:txBody>
          <a:bodyPr>
            <a:noAutofit/>
          </a:bodyPr>
          <a:lstStyle>
            <a:lvl1pPr marL="0" indent="0">
              <a:buNone/>
              <a:defRPr sz="2600" b="0" i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Calibri Light" charset="0"/>
                <a:cs typeface="Calibri Light" charset="0"/>
              </a:defRPr>
            </a:lvl1pPr>
          </a:lstStyle>
          <a:p>
            <a:pPr lvl="0"/>
            <a:r>
              <a:rPr lang="en-US"/>
              <a:t>Header 01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ED3B328-32C6-A846-A879-BB55422322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9966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93C2FB-EF86-FD49-89EB-659751C1589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6D2A2C-658B-B640-B0FC-D563312E3D7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60608" y="2082800"/>
            <a:ext cx="10882260" cy="4017963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3356A8B-0978-4344-81D7-A94E7D73C7B3}"/>
              </a:ext>
            </a:extLst>
          </p:cNvPr>
          <p:cNvSpPr/>
          <p:nvPr userDrawn="1"/>
        </p:nvSpPr>
        <p:spPr>
          <a:xfrm>
            <a:off x="0" y="0"/>
            <a:ext cx="3561907" cy="1169582"/>
          </a:xfrm>
          <a:prstGeom prst="rect">
            <a:avLst/>
          </a:prstGeom>
          <a:solidFill>
            <a:srgbClr val="A3C2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0C1FEA9D-39F0-0144-BA3B-F76C341351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324" y="247846"/>
            <a:ext cx="3471810" cy="695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18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around each other&#10;&#10;Description automatically generated">
            <a:extLst>
              <a:ext uri="{FF2B5EF4-FFF2-40B4-BE49-F238E27FC236}">
                <a16:creationId xmlns:a16="http://schemas.microsoft.com/office/drawing/2014/main" id="{46E58B8C-779F-184B-97E6-77B9C082B6B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2" y="4443413"/>
            <a:ext cx="12192000" cy="1914525"/>
          </a:xfrm>
          <a:prstGeom prst="rect">
            <a:avLst/>
          </a:prstGeom>
          <a:noFill/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463924" y="4795479"/>
            <a:ext cx="6333017" cy="848085"/>
          </a:xfrm>
        </p:spPr>
        <p:txBody>
          <a:bodyPr/>
          <a:lstStyle>
            <a:lvl1pPr marL="0" indent="0" algn="r">
              <a:buNone/>
              <a:defRPr sz="4400" b="0" i="0">
                <a:solidFill>
                  <a:schemeClr val="bg2"/>
                </a:solidFill>
                <a:latin typeface="+mj-lt"/>
                <a:ea typeface="Roboto Slab Light" pitchFamily="2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294459" y="5688921"/>
            <a:ext cx="3443288" cy="577850"/>
          </a:xfrm>
        </p:spPr>
        <p:txBody>
          <a:bodyPr/>
          <a:lstStyle>
            <a:lvl1pPr marL="0" indent="0" algn="r">
              <a:buNone/>
              <a:defRPr sz="2200" b="0" i="1">
                <a:solidFill>
                  <a:schemeClr val="bg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ubhead or Date</a:t>
            </a: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5463924" y="5566679"/>
            <a:ext cx="6267235" cy="308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04B8D28-42EA-6143-800E-36A8631DDDED}"/>
              </a:ext>
            </a:extLst>
          </p:cNvPr>
          <p:cNvSpPr/>
          <p:nvPr/>
        </p:nvSpPr>
        <p:spPr>
          <a:xfrm>
            <a:off x="-20514" y="4443413"/>
            <a:ext cx="2212094" cy="191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7EE6BAF-86B0-E654-40C3-B24271A5435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3292" y="4857750"/>
            <a:ext cx="1744481" cy="1085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672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D600153-8EBE-D644-84CE-423CC7DBB03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E41F5D6-71C7-8540-A903-95BE29BA587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7000">
                <a:schemeClr val="accent1">
                  <a:alpha val="90000"/>
                </a:schemeClr>
              </a:gs>
              <a:gs pos="99000">
                <a:schemeClr val="accent1">
                  <a:alpha val="2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3616960"/>
            <a:ext cx="8605520" cy="1312075"/>
          </a:xfrm>
        </p:spPr>
        <p:txBody>
          <a:bodyPr anchor="b" anchorCtr="0"/>
          <a:lstStyle>
            <a:lvl1pPr algn="l">
              <a:defRPr sz="4800" b="0" i="0">
                <a:solidFill>
                  <a:schemeClr val="bg2">
                    <a:lumMod val="25000"/>
                  </a:schemeClr>
                </a:solidFill>
                <a:latin typeface="+mj-lt"/>
                <a:ea typeface="Roboto Slab Light" pitchFamily="2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EB26B32-06CE-7743-B082-7648A0284080}"/>
              </a:ext>
            </a:extLst>
          </p:cNvPr>
          <p:cNvSpPr txBox="1">
            <a:spLocks/>
          </p:cNvSpPr>
          <p:nvPr/>
        </p:nvSpPr>
        <p:spPr>
          <a:xfrm>
            <a:off x="650240" y="4953000"/>
            <a:ext cx="8227542" cy="13120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i="0" kern="120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endParaRPr lang="en-US" sz="3600" b="0" i="0">
              <a:cs typeface="Open Sans" panose="020B060603050402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A921F85-DFB0-C94F-B82E-F2E18576B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6113" y="5029200"/>
            <a:ext cx="8251825" cy="1238250"/>
          </a:xfrm>
        </p:spPr>
        <p:txBody>
          <a:bodyPr anchor="t" anchorCtr="0"/>
          <a:lstStyle>
            <a:lvl1pPr marL="0" indent="0">
              <a:buNone/>
              <a:defRPr sz="3200" b="0" i="1">
                <a:solidFill>
                  <a:schemeClr val="bg2">
                    <a:lumMod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sub tit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D5B4C1B-8876-3431-273A-2A183C6649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1330" y="590551"/>
            <a:ext cx="2299450" cy="143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41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Op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6E58B8C-779F-184B-97E6-77B9C082B6B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2" y="4443413"/>
            <a:ext cx="12192000" cy="1914525"/>
          </a:xfrm>
          <a:prstGeom prst="rect">
            <a:avLst/>
          </a:prstGeom>
          <a:noFill/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463924" y="4795479"/>
            <a:ext cx="6333017" cy="848085"/>
          </a:xfrm>
        </p:spPr>
        <p:txBody>
          <a:bodyPr/>
          <a:lstStyle>
            <a:lvl1pPr marL="0" indent="0" algn="r">
              <a:buNone/>
              <a:defRPr sz="4400" b="0" i="0">
                <a:solidFill>
                  <a:schemeClr val="bg2"/>
                </a:solidFill>
                <a:latin typeface="+mj-lt"/>
                <a:ea typeface="Roboto Slab Light" pitchFamily="2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294459" y="5688921"/>
            <a:ext cx="3443288" cy="577850"/>
          </a:xfrm>
        </p:spPr>
        <p:txBody>
          <a:bodyPr/>
          <a:lstStyle>
            <a:lvl1pPr marL="0" indent="0" algn="r">
              <a:buNone/>
              <a:defRPr sz="2200" b="0" i="1">
                <a:solidFill>
                  <a:schemeClr val="bg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ubhead or Date</a:t>
            </a: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5463924" y="5566679"/>
            <a:ext cx="6267235" cy="308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04B8D28-42EA-6143-800E-36A8631DDDED}"/>
              </a:ext>
            </a:extLst>
          </p:cNvPr>
          <p:cNvSpPr/>
          <p:nvPr/>
        </p:nvSpPr>
        <p:spPr>
          <a:xfrm>
            <a:off x="-20514" y="4443413"/>
            <a:ext cx="2212094" cy="191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D56747C-94AA-A8D7-4CC8-F7BD2D7615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3292" y="4857750"/>
            <a:ext cx="1744481" cy="1085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453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Op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2C3C990-91EF-DB46-9027-FA2760C960B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036" y="-27432"/>
            <a:ext cx="12206036" cy="688543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E41F5D6-71C7-8540-A903-95BE29BA587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7000">
                <a:schemeClr val="accent1">
                  <a:alpha val="90000"/>
                </a:schemeClr>
              </a:gs>
              <a:gs pos="99000">
                <a:schemeClr val="accent1">
                  <a:alpha val="2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3616960"/>
            <a:ext cx="8575040" cy="1312075"/>
          </a:xfrm>
        </p:spPr>
        <p:txBody>
          <a:bodyPr anchor="b" anchorCtr="0"/>
          <a:lstStyle>
            <a:lvl1pPr algn="l">
              <a:defRPr sz="4800" b="0" i="0">
                <a:solidFill>
                  <a:schemeClr val="bg2">
                    <a:lumMod val="25000"/>
                  </a:schemeClr>
                </a:solidFill>
                <a:latin typeface="+mj-lt"/>
                <a:ea typeface="Roboto Slab Light" pitchFamily="2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EB26B32-06CE-7743-B082-7648A0284080}"/>
              </a:ext>
            </a:extLst>
          </p:cNvPr>
          <p:cNvSpPr txBox="1">
            <a:spLocks/>
          </p:cNvSpPr>
          <p:nvPr/>
        </p:nvSpPr>
        <p:spPr>
          <a:xfrm>
            <a:off x="650240" y="4953000"/>
            <a:ext cx="8227542" cy="13120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i="0" kern="120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endParaRPr lang="en-US" sz="3600" b="0" i="0">
              <a:cs typeface="Open Sans" panose="020B060603050402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A921F85-DFB0-C94F-B82E-F2E18576B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6113" y="5029200"/>
            <a:ext cx="8251825" cy="1238250"/>
          </a:xfrm>
        </p:spPr>
        <p:txBody>
          <a:bodyPr anchor="t" anchorCtr="0"/>
          <a:lstStyle>
            <a:lvl1pPr marL="0" indent="0">
              <a:buNone/>
              <a:defRPr sz="3200" b="0" i="1">
                <a:solidFill>
                  <a:schemeClr val="bg2">
                    <a:lumMod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sub tit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26BC9CF-C5C7-19C0-E4BC-F30A5B0798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1330" y="590551"/>
            <a:ext cx="2299450" cy="143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653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5095"/>
            <a:ext cx="9499600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10972800" cy="4648199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F4440FD-3414-374B-A9AC-A45E138B26C4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14A4EFA-8C19-2E47-B95C-A64B7FFD6716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A71ED6BF-F047-F643-BADC-3C6C752935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ED3C157-AA62-9BC2-1CEB-1FF133391065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E82D4E3-A4E2-B21E-4711-6193AF9DAEBB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09196E5F-3581-A9C9-5209-5A469E4533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453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orient="horz" pos="984" userDrawn="1">
          <p15:clr>
            <a:srgbClr val="FBAE40"/>
          </p15:clr>
        </p15:guide>
        <p15:guide id="6" pos="384" userDrawn="1">
          <p15:clr>
            <a:srgbClr val="FBAE40"/>
          </p15:clr>
        </p15:guide>
        <p15:guide id="7" pos="7296" userDrawn="1">
          <p15:clr>
            <a:srgbClr val="FBAE40"/>
          </p15:clr>
        </p15:guide>
        <p15:guide id="8" orient="horz" pos="3912" userDrawn="1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25120"/>
            <a:ext cx="9469120" cy="56896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10972800" cy="4648199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F4440FD-3414-374B-A9AC-A45E138B26C4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14A4EFA-8C19-2E47-B95C-A64B7FFD6716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D253C39-5D5C-0942-AF66-9A859B409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965200"/>
            <a:ext cx="9490075" cy="28416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0B7DE28-5581-D231-8115-332BCBBA55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247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3912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10972800" cy="4648199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F4440FD-3414-374B-A9AC-A45E138B26C4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14A4EFA-8C19-2E47-B95C-A64B7FFD6716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5CBDB16C-FCE1-654B-A8B0-03B0C3BDA9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320"/>
            <a:ext cx="9469120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73B8F32-84C1-6145-9135-8814C97CD2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792480"/>
            <a:ext cx="9490075" cy="42640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7F8071D-62CF-B3AA-6EB8-2933D34072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196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3912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9FEABE-3AFB-8149-8319-459E7E20C7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2286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2286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2286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286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Open Sans Light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01BFFE-8BB7-C54B-B1C7-E8CEFEC397A4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790DA94-B1B1-F540-B236-89961D005175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5149A5D1-1E27-3449-8A9D-C212D7E5C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5095"/>
            <a:ext cx="9499600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C87D7E4-C7D3-33A6-C205-BF49A873BF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BE70B37-3F9A-3305-0A74-CDF42EA6BE51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59206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2286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2286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2286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286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Open Sans Light"/>
              <a:ea typeface="Open Sans" pitchFamily="2" charset="0"/>
              <a:cs typeface="Open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0411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9FEABE-3AFB-8149-8319-459E7E20C7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2286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2286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2286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286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Open Sans Light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01BFFE-8BB7-C54B-B1C7-E8CEFEC397A4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86B9C39-3930-0642-8851-75ED3365A3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25120"/>
            <a:ext cx="9469120" cy="56896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81F3A1-E986-E642-A06A-620E378A355F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4A91B707-11BE-AD43-B13E-0FAB91299C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965200"/>
            <a:ext cx="9490075" cy="28416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DE0278F-90F4-C614-C834-B4489B3CCF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BB31BBF-CD76-C911-5539-E6C5D413F9C5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359206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2286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2286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2286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286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Open Sans Light"/>
              <a:ea typeface="Open Sans" pitchFamily="2" charset="0"/>
              <a:cs typeface="Open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5091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9FEABE-3AFB-8149-8319-459E7E20C7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2286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2286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2286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286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Open Sans Light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01BFFE-8BB7-C54B-B1C7-E8CEFEC397A4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81F3A1-E986-E642-A06A-620E378A355F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42501A62-76E2-DD4B-90E6-E5FE9B329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320"/>
            <a:ext cx="9469120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5DAB394-EDF1-5D48-920C-20021D8EF0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2480"/>
            <a:ext cx="9490075" cy="42640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A73EDE9-E753-AC30-F3A1-835BB1888E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FEC7BE1-8207-53F3-6D92-94A74605FA06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359206" y="1562101"/>
            <a:ext cx="5223194" cy="4614862"/>
          </a:xfrm>
        </p:spPr>
        <p:txBody>
          <a:bodyPr anchor="t" anchorCtr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 i="0">
                <a:latin typeface="Roboto Slab Light" pitchFamily="2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2286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2286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2286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286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Open Sans Light"/>
              <a:ea typeface="Open Sans" pitchFamily="2" charset="0"/>
              <a:cs typeface="Open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922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orient="horz" pos="3912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Op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D600153-8EBE-D644-84CE-423CC7DBB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E41F5D6-71C7-8540-A903-95BE29BA5872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27000">
                <a:schemeClr val="accent1">
                  <a:alpha val="90000"/>
                </a:schemeClr>
              </a:gs>
              <a:gs pos="99000">
                <a:schemeClr val="accent1">
                  <a:alpha val="2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1" y="3616962"/>
            <a:ext cx="8227542" cy="1312075"/>
          </a:xfrm>
        </p:spPr>
        <p:txBody>
          <a:bodyPr anchor="b" anchorCtr="0"/>
          <a:lstStyle>
            <a:lvl1pPr algn="l">
              <a:defRPr sz="5398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31E2702E-14ED-A049-8014-3B706337914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112" y="740314"/>
            <a:ext cx="2220647" cy="1553708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EB26B32-06CE-7743-B082-7648A0284080}"/>
              </a:ext>
            </a:extLst>
          </p:cNvPr>
          <p:cNvSpPr txBox="1">
            <a:spLocks/>
          </p:cNvSpPr>
          <p:nvPr userDrawn="1"/>
        </p:nvSpPr>
        <p:spPr>
          <a:xfrm>
            <a:off x="650241" y="4953002"/>
            <a:ext cx="8227542" cy="13120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i="0" kern="120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endParaRPr lang="en-US" sz="3599" i="1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A921F85-DFB0-C94F-B82E-F2E18576B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6113" y="5029200"/>
            <a:ext cx="8251825" cy="1238250"/>
          </a:xfrm>
        </p:spPr>
        <p:txBody>
          <a:bodyPr anchor="t" anchorCtr="0"/>
          <a:lstStyle>
            <a:lvl1pPr marL="0" indent="0">
              <a:buNone/>
              <a:defRPr sz="3199" i="1">
                <a:solidFill>
                  <a:schemeClr val="bg1"/>
                </a:solidFill>
                <a:latin typeface="+mj-lt"/>
              </a:defRPr>
            </a:lvl1pPr>
            <a:lvl2pPr marL="457063" indent="0">
              <a:buNone/>
              <a:defRPr sz="3599">
                <a:solidFill>
                  <a:schemeClr val="bg1"/>
                </a:solidFill>
                <a:latin typeface="+mj-lt"/>
              </a:defRPr>
            </a:lvl2pPr>
            <a:lvl3pPr marL="914126" indent="0">
              <a:buNone/>
              <a:defRPr sz="3599">
                <a:solidFill>
                  <a:schemeClr val="bg1"/>
                </a:solidFill>
                <a:latin typeface="+mj-lt"/>
              </a:defRPr>
            </a:lvl3pPr>
            <a:lvl4pPr marL="1371189" indent="0">
              <a:buNone/>
              <a:defRPr sz="3599">
                <a:solidFill>
                  <a:schemeClr val="bg1"/>
                </a:solidFill>
                <a:latin typeface="+mj-lt"/>
              </a:defRPr>
            </a:lvl4pPr>
            <a:lvl5pPr marL="1828251" indent="0">
              <a:buNone/>
              <a:defRPr sz="3599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sub title</a:t>
            </a:r>
          </a:p>
        </p:txBody>
      </p:sp>
    </p:spTree>
    <p:extLst>
      <p:ext uri="{BB962C8B-B14F-4D97-AF65-F5344CB8AC3E}">
        <p14:creationId xmlns:p14="http://schemas.microsoft.com/office/powerpoint/2010/main" val="2570680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0F0C48C-6419-E542-9E66-3B49E2C31F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77967"/>
            <a:ext cx="3393440" cy="4629476"/>
          </a:xfrm>
        </p:spPr>
        <p:txBody>
          <a:bodyPr anchor="t" anchorCtr="0"/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Click to edit Master text styles</a:t>
            </a:r>
          </a:p>
          <a:p>
            <a:pPr marL="2286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Second level</a:t>
            </a:r>
          </a:p>
          <a:p>
            <a:pPr marL="2286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Third level</a:t>
            </a:r>
          </a:p>
          <a:p>
            <a:pPr marL="2286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ourth level</a:t>
            </a:r>
          </a:p>
          <a:p>
            <a:pPr marL="2286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Open Sans Light"/>
                <a:ea typeface="Open Sans" pitchFamily="2" charset="0"/>
                <a:cs typeface="Open Sans" pitchFamily="2" charset="0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Open Sans Light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12AFBBA-0440-664F-9718-A67967B2629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9928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6D8D87D-5760-5145-A3C9-CE4D5B30DC7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8896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9D7C00-1E28-464B-8EF2-9AE735767BD5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721B0F-1544-B342-8ED3-E88A03FB306F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945F7755-2DA8-0A4A-B346-37B838F8F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5095"/>
            <a:ext cx="9499600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5654BFD-DB60-606E-0651-61D9A7EC8F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10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3912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0F0C48C-6419-E542-9E66-3B49E2C31F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12AFBBA-0440-664F-9718-A67967B2629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9928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6D8D87D-5760-5145-A3C9-CE4D5B30DC7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8896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9D7C00-1E28-464B-8EF2-9AE735767BD5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3832153-8289-6948-9B14-0F51FAF7A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25120"/>
            <a:ext cx="9469120" cy="56896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443D2C-157D-5A47-A20F-2B23B6782CE1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4BF11BC-523B-124E-8A1E-C9ADCE3E1B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965200"/>
            <a:ext cx="9490075" cy="28416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3BDBEED-4242-B3D2-0C81-52E8F6D36C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925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3912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C8685-FF8C-6A43-9518-9F251B8BA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0F0C48C-6419-E542-9E66-3B49E2C31F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12AFBBA-0440-664F-9718-A67967B2629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9928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6D8D87D-5760-5145-A3C9-CE4D5B30DC7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88960" y="1577967"/>
            <a:ext cx="3393440" cy="4629476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9D7C00-1E28-464B-8EF2-9AE735767BD5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443D2C-157D-5A47-A20F-2B23B6782CE1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988709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7BB336AE-C178-AC43-84E5-33C29412B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320"/>
            <a:ext cx="9469120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53D86292-7698-6646-8991-2844CE386B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792480"/>
            <a:ext cx="9490075" cy="42640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3816E19-81FB-E44B-A0FC-08B5482069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2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3912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kinny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2471" y="1562100"/>
            <a:ext cx="6859930" cy="4614863"/>
          </a:xfrm>
        </p:spPr>
        <p:txBody>
          <a:bodyPr anchor="t" anchorCtr="0"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0"/>
            <a:ext cx="3789363" cy="619283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24C16E0-92CF-6F41-9635-C97091D349D8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9D72E9D-EE6F-134E-B5A9-2FB8729C9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399" y="175095"/>
            <a:ext cx="5009909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21C70C-B746-1148-A493-2776B1A321A0}"/>
              </a:ext>
            </a:extLst>
          </p:cNvPr>
          <p:cNvCxnSpPr>
            <a:cxnSpLocks/>
          </p:cNvCxnSpPr>
          <p:nvPr/>
        </p:nvCxnSpPr>
        <p:spPr>
          <a:xfrm>
            <a:off x="4724400" y="1356038"/>
            <a:ext cx="5760720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E2DF696C-F86A-E6FD-52C3-E5DBA17269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260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3912">
          <p15:clr>
            <a:srgbClr val="FBAE40"/>
          </p15:clr>
        </p15:guide>
        <p15:guide id="2" pos="384">
          <p15:clr>
            <a:srgbClr val="FBAE40"/>
          </p15:clr>
        </p15:guide>
        <p15:guide id="3" pos="2784">
          <p15:clr>
            <a:srgbClr val="FBAE40"/>
          </p15:clr>
        </p15:guide>
        <p15:guide id="4" orient="horz" pos="984">
          <p15:clr>
            <a:srgbClr val="FBAE40"/>
          </p15:clr>
        </p15:guide>
        <p15:guide id="5" pos="2976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kinny Photo Lef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2471" y="1562100"/>
            <a:ext cx="6859930" cy="4614863"/>
          </a:xfrm>
        </p:spPr>
        <p:txBody>
          <a:bodyPr anchor="t" anchorCtr="0"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0"/>
            <a:ext cx="3789363" cy="619283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24C16E0-92CF-6F41-9635-C97091D349D8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21C70C-B746-1148-A493-2776B1A321A0}"/>
              </a:ext>
            </a:extLst>
          </p:cNvPr>
          <p:cNvCxnSpPr>
            <a:cxnSpLocks/>
          </p:cNvCxnSpPr>
          <p:nvPr/>
        </p:nvCxnSpPr>
        <p:spPr>
          <a:xfrm>
            <a:off x="4724400" y="1356038"/>
            <a:ext cx="5760720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949EA303-5278-A449-9440-6A0F1B3BBD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400" y="325120"/>
            <a:ext cx="5354320" cy="56896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EDDC8735-3449-B949-BDF8-6A201B956E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4400" y="965200"/>
            <a:ext cx="5375275" cy="28416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21EEE9-C726-9AEB-F8C8-BFE321119D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04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3912">
          <p15:clr>
            <a:srgbClr val="FBAE40"/>
          </p15:clr>
        </p15:guide>
        <p15:guide id="2" pos="384">
          <p15:clr>
            <a:srgbClr val="FBAE40"/>
          </p15:clr>
        </p15:guide>
        <p15:guide id="3" pos="2784">
          <p15:clr>
            <a:srgbClr val="FBAE40"/>
          </p15:clr>
        </p15:guide>
        <p15:guide id="4" orient="horz" pos="984">
          <p15:clr>
            <a:srgbClr val="FBAE40"/>
          </p15:clr>
        </p15:guide>
        <p15:guide id="5" pos="2976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kinny Photo Left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2471" y="1562100"/>
            <a:ext cx="6859930" cy="4614863"/>
          </a:xfrm>
        </p:spPr>
        <p:txBody>
          <a:bodyPr anchor="t" anchorCtr="0"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3208" y="6336030"/>
            <a:ext cx="2539192" cy="365125"/>
          </a:xfrm>
        </p:spPr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0"/>
            <a:ext cx="3789363" cy="619283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24C16E0-92CF-6F41-9635-C97091D349D8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21C70C-B746-1148-A493-2776B1A321A0}"/>
              </a:ext>
            </a:extLst>
          </p:cNvPr>
          <p:cNvCxnSpPr>
            <a:cxnSpLocks/>
          </p:cNvCxnSpPr>
          <p:nvPr/>
        </p:nvCxnSpPr>
        <p:spPr>
          <a:xfrm>
            <a:off x="4724400" y="1356038"/>
            <a:ext cx="5760720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53DC57D1-818A-3B48-9EFC-82C14F8DA9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400" y="274320"/>
            <a:ext cx="5354320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76E6F74-E1C4-B548-9A47-4B556FD862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33506" y="792480"/>
            <a:ext cx="5366169" cy="42640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CD6FAC8-E1F2-F235-5D9C-4C9B705CDB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96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3912">
          <p15:clr>
            <a:srgbClr val="FBAE40"/>
          </p15:clr>
        </p15:guide>
        <p15:guide id="2" pos="384">
          <p15:clr>
            <a:srgbClr val="FBAE40"/>
          </p15:clr>
        </p15:guide>
        <p15:guide id="3" pos="2784">
          <p15:clr>
            <a:srgbClr val="FBAE40"/>
          </p15:clr>
        </p15:guide>
        <p15:guide id="4" orient="horz" pos="984">
          <p15:clr>
            <a:srgbClr val="FBAE40"/>
          </p15:clr>
        </p15:guide>
        <p15:guide id="5" pos="2976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kinny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66613" y="0"/>
            <a:ext cx="3815787" cy="619283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6859082" cy="4614863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B831997-046F-B544-A9DE-9D1534FA60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5095"/>
            <a:ext cx="6896100" cy="1020827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B21A11F-F3C0-A247-A60C-BE67729A030A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690767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66382CE-51C6-FE93-9DCA-E9BF9F4E5602}"/>
              </a:ext>
            </a:extLst>
          </p:cNvPr>
          <p:cNvCxnSpPr>
            <a:cxnSpLocks/>
          </p:cNvCxnSpPr>
          <p:nvPr userDrawn="1"/>
        </p:nvCxnSpPr>
        <p:spPr>
          <a:xfrm>
            <a:off x="598025" y="1356038"/>
            <a:ext cx="690767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9369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4" orient="horz" pos="3912">
          <p15:clr>
            <a:srgbClr val="FBAE40"/>
          </p15:clr>
        </p15:guide>
        <p15:guide id="5" pos="4728">
          <p15:clr>
            <a:srgbClr val="FBAE40"/>
          </p15:clr>
        </p15:guide>
        <p15:guide id="6" pos="4896">
          <p15:clr>
            <a:srgbClr val="FBAE40"/>
          </p15:clr>
        </p15:guide>
        <p15:guide id="7" pos="7296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kinny Photo Righ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66613" y="0"/>
            <a:ext cx="3815787" cy="619283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6859082" cy="4614863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B21A11F-F3C0-A247-A60C-BE67729A030A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690767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C054A52C-27BC-0341-BC40-DC426058B2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25120"/>
            <a:ext cx="6896100" cy="56896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82369CF-5403-4E40-8CD7-4FFD11F5C5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1" y="965200"/>
            <a:ext cx="6896100" cy="28416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75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4" orient="horz" pos="3912">
          <p15:clr>
            <a:srgbClr val="FBAE40"/>
          </p15:clr>
        </p15:guide>
        <p15:guide id="5" pos="4728">
          <p15:clr>
            <a:srgbClr val="FBAE40"/>
          </p15:clr>
        </p15:guide>
        <p15:guide id="6" pos="4896">
          <p15:clr>
            <a:srgbClr val="FBAE40"/>
          </p15:clr>
        </p15:guide>
        <p15:guide id="7" pos="7296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kinny Photo Right_Subhe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B6DB7D-8DC9-6B46-AA62-335DFCA66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66613" y="0"/>
            <a:ext cx="3815787" cy="619283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DE45C-1BAA-B349-8426-1ADAFA879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2100"/>
            <a:ext cx="6859082" cy="4614863"/>
          </a:xfrm>
        </p:spPr>
        <p:txBody>
          <a:bodyPr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B21A11F-F3C0-A247-A60C-BE67729A030A}"/>
              </a:ext>
            </a:extLst>
          </p:cNvPr>
          <p:cNvCxnSpPr>
            <a:cxnSpLocks/>
          </p:cNvCxnSpPr>
          <p:nvPr/>
        </p:nvCxnSpPr>
        <p:spPr>
          <a:xfrm>
            <a:off x="598025" y="1356038"/>
            <a:ext cx="6907675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E1529B8E-E21A-8543-BDAB-7D936F152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320"/>
            <a:ext cx="6880873" cy="426720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9701E11-0FE4-7548-B605-B4E42F2714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1" y="792480"/>
            <a:ext cx="6896100" cy="426403"/>
          </a:xfrm>
        </p:spPr>
        <p:txBody>
          <a:bodyPr/>
          <a:lstStyle>
            <a:lvl1pPr marL="0" indent="0">
              <a:buNone/>
              <a:defRPr b="0" i="1">
                <a:solidFill>
                  <a:schemeClr val="tx2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i="1"/>
              <a:t>Click to edit subtitle style</a:t>
            </a:r>
            <a:br>
              <a:rPr lang="en-US" i="1"/>
            </a:br>
            <a:r>
              <a:rPr lang="en-US" i="1"/>
              <a:t>Double Lin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596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84">
          <p15:clr>
            <a:srgbClr val="FBAE40"/>
          </p15:clr>
        </p15:guide>
        <p15:guide id="4" orient="horz" pos="3912">
          <p15:clr>
            <a:srgbClr val="FBAE40"/>
          </p15:clr>
        </p15:guide>
        <p15:guide id="5" pos="4728">
          <p15:clr>
            <a:srgbClr val="FBAE40"/>
          </p15:clr>
        </p15:guide>
        <p15:guide id="6" pos="4896">
          <p15:clr>
            <a:srgbClr val="FBAE40"/>
          </p15:clr>
        </p15:guide>
        <p15:guide id="7" pos="7296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7327" y="2095500"/>
            <a:ext cx="4325074" cy="3078384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318FC55D-C4A7-8F45-8F50-2EAE7BCFD47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2588" y="334963"/>
            <a:ext cx="6492875" cy="61579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B98A59D-123E-5748-BCE5-F090EB559309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4350B91-35CE-988A-5E82-9ED0929BBF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580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192">
          <p15:clr>
            <a:srgbClr val="FBAE40"/>
          </p15:clr>
        </p15:guide>
        <p15:guide id="2" pos="240">
          <p15:clr>
            <a:srgbClr val="FBAE40"/>
          </p15:clr>
        </p15:guide>
        <p15:guide id="3" orient="horz" pos="4104">
          <p15:clr>
            <a:srgbClr val="FBAE40"/>
          </p15:clr>
        </p15:guide>
        <p15:guide id="4" pos="4344">
          <p15:clr>
            <a:srgbClr val="FBAE40"/>
          </p15:clr>
        </p15:guide>
        <p15:guide id="5" pos="4560">
          <p15:clr>
            <a:srgbClr val="FBAE40"/>
          </p15:clr>
        </p15:guide>
        <p15:guide id="6" pos="7296">
          <p15:clr>
            <a:srgbClr val="FBAE40"/>
          </p15:clr>
        </p15:guide>
        <p15:guide id="7" orient="horz" pos="1320">
          <p15:clr>
            <a:srgbClr val="FBAE40"/>
          </p15:clr>
        </p15:guide>
        <p15:guide id="8" orient="horz" pos="326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bg>
      <p:bgPr>
        <a:solidFill>
          <a:schemeClr val="bg2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026AB21F-2F30-1FE3-6171-BBD7CF60AA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64076" y="5247481"/>
            <a:ext cx="1463848" cy="91117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4D791E-D2A2-4EAA-F215-B538380A14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1708970"/>
            <a:ext cx="3352800" cy="276998"/>
          </a:xfrm>
        </p:spPr>
        <p:txBody>
          <a:bodyPr/>
          <a:lstStyle>
            <a:lvl1pPr marL="0" indent="0" algn="ctr">
              <a:buNone/>
              <a:defRPr sz="1400" b="1" spc="3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SECTION NUMB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CA1E4D-1417-8192-DFA9-A11BEB5F03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0638" y="2148687"/>
            <a:ext cx="9844087" cy="911171"/>
          </a:xfrm>
        </p:spPr>
        <p:txBody>
          <a:bodyPr/>
          <a:lstStyle>
            <a:lvl1pPr marL="0" indent="0" algn="ctr">
              <a:buNone/>
              <a:defRPr sz="4800" b="0" i="0">
                <a:solidFill>
                  <a:schemeClr val="bg1"/>
                </a:solidFill>
                <a:latin typeface="Roboto Slab Light" pitchFamily="2" charset="0"/>
                <a:ea typeface="Roboto Slab Light" pitchFamily="2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7658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318FC55D-C4A7-8F45-8F50-2EAE7BCFD47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78680" y="334963"/>
            <a:ext cx="6492875" cy="61579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803396"/>
            <a:ext cx="4300921" cy="3092696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631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192">
          <p15:clr>
            <a:srgbClr val="FBAE40"/>
          </p15:clr>
        </p15:guide>
        <p15:guide id="2" pos="384">
          <p15:clr>
            <a:srgbClr val="FBAE40"/>
          </p15:clr>
        </p15:guide>
        <p15:guide id="3" orient="horz" pos="4104">
          <p15:clr>
            <a:srgbClr val="FBAE40"/>
          </p15:clr>
        </p15:guide>
        <p15:guide id="4" pos="3096">
          <p15:clr>
            <a:srgbClr val="FBAE40"/>
          </p15:clr>
        </p15:guide>
        <p15:guide id="5" pos="3312">
          <p15:clr>
            <a:srgbClr val="FBAE40"/>
          </p15:clr>
        </p15:guide>
        <p15:guide id="6" pos="7416">
          <p15:clr>
            <a:srgbClr val="FBAE40"/>
          </p15:clr>
        </p15:guide>
        <p15:guide id="7" orient="horz" pos="1128">
          <p15:clr>
            <a:srgbClr val="FBAE40"/>
          </p15:clr>
        </p15:guide>
        <p15:guide id="8" orient="horz" pos="3096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2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22B734-346C-A938-5518-B6039C2208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03363" y="1147763"/>
            <a:ext cx="8940800" cy="4176712"/>
          </a:xfrm>
        </p:spPr>
        <p:txBody>
          <a:bodyPr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F8B6C5-BE26-96AB-9D43-0A3A3AAB97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3363" y="5597525"/>
            <a:ext cx="8940800" cy="752475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sz="2400"/>
              <a:t>— Attribu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161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bg>
      <p:bgPr>
        <a:solidFill>
          <a:schemeClr val="bg2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026AB21F-2F30-1FE3-6171-BBD7CF60AA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64076" y="5247481"/>
            <a:ext cx="1463848" cy="91117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4D791E-D2A2-4EAA-F215-B538380A14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1708970"/>
            <a:ext cx="3352800" cy="276998"/>
          </a:xfrm>
        </p:spPr>
        <p:txBody>
          <a:bodyPr/>
          <a:lstStyle>
            <a:lvl1pPr marL="0" indent="0" algn="ctr">
              <a:buNone/>
              <a:defRPr sz="1400" b="1" spc="3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SECTION NUMB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CA1E4D-1417-8192-DFA9-A11BEB5F03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0638" y="2148687"/>
            <a:ext cx="9844087" cy="911171"/>
          </a:xfrm>
        </p:spPr>
        <p:txBody>
          <a:bodyPr/>
          <a:lstStyle>
            <a:lvl1pPr marL="0" indent="0" algn="ctr">
              <a:buNone/>
              <a:defRPr sz="4800" b="0" i="0">
                <a:solidFill>
                  <a:schemeClr val="bg1"/>
                </a:solidFill>
                <a:latin typeface="Roboto Slab Light" pitchFamily="2" charset="0"/>
                <a:ea typeface="Roboto Slab Light" pitchFamily="2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91822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966518-0B53-0448-A378-BFBA91FB5B7A}"/>
              </a:ext>
            </a:extLst>
          </p:cNvPr>
          <p:cNvSpPr/>
          <p:nvPr/>
        </p:nvSpPr>
        <p:spPr>
          <a:xfrm>
            <a:off x="0" y="0"/>
            <a:ext cx="290524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640983-E937-314A-B3A2-6D94622DDCB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666875" y="1608138"/>
            <a:ext cx="2743200" cy="3692525"/>
          </a:xfrm>
          <a:ln w="127000">
            <a:noFill/>
            <a:miter lim="800000"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F07E31C-8290-1A40-A30F-16D9DC22A6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6001" y="2029493"/>
            <a:ext cx="6756400" cy="272005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200" b="0" i="0">
                <a:latin typeface="Roboto Slab Light" pitchFamily="2" charset="0"/>
                <a:ea typeface="Roboto Slab Light" pitchFamily="2" charset="0"/>
              </a:defRPr>
            </a:lvl1pPr>
          </a:lstStyle>
          <a:p>
            <a:pPr lvl="0"/>
            <a:r>
              <a:rPr lang="en-US"/>
              <a:t>“Quote.”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3DC3D47-848D-FB41-9D89-A789C15C5A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26001" y="4868696"/>
            <a:ext cx="6756400" cy="427204"/>
          </a:xfrm>
        </p:spPr>
        <p:txBody>
          <a:bodyPr tIns="91440">
            <a:noAutofit/>
          </a:bodyPr>
          <a:lstStyle>
            <a:lvl1pPr marL="0" indent="0">
              <a:lnSpc>
                <a:spcPts val="880"/>
              </a:lnSpc>
              <a:buNone/>
              <a:defRPr sz="1400" i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Attribu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D9C8ABF-840F-C244-8C12-AAE9A6944A58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BA87FFA-3859-BD9A-8CA0-C87F880074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9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024">
          <p15:clr>
            <a:srgbClr val="FBAE40"/>
          </p15:clr>
        </p15:guide>
        <p15:guide id="3" pos="105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3000">
          <p15:clr>
            <a:srgbClr val="FBAE40"/>
          </p15:clr>
        </p15:guide>
        <p15:guide id="6" orient="horz" pos="3072">
          <p15:clr>
            <a:srgbClr val="FBAE40"/>
          </p15:clr>
        </p15:guide>
        <p15:guide id="7" orient="horz" pos="3336">
          <p15:clr>
            <a:srgbClr val="FBAE40"/>
          </p15:clr>
        </p15:guide>
        <p15:guide id="8" orient="horz" pos="3360">
          <p15:clr>
            <a:srgbClr val="FBAE40"/>
          </p15:clr>
        </p15:guide>
        <p15:guide id="9" pos="729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966518-0B53-0448-A378-BFBA91FB5B7A}"/>
              </a:ext>
            </a:extLst>
          </p:cNvPr>
          <p:cNvSpPr/>
          <p:nvPr/>
        </p:nvSpPr>
        <p:spPr>
          <a:xfrm>
            <a:off x="0" y="0"/>
            <a:ext cx="83312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F07E31C-8290-1A40-A30F-16D9DC22A6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3361" y="1548050"/>
            <a:ext cx="7955280" cy="272005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200" b="0" i="0">
                <a:latin typeface="Roboto Slab Light" pitchFamily="2" charset="0"/>
                <a:ea typeface="Roboto Slab Light" pitchFamily="2" charset="0"/>
              </a:defRPr>
            </a:lvl1pPr>
          </a:lstStyle>
          <a:p>
            <a:pPr lvl="0"/>
            <a:r>
              <a:rPr lang="en-US"/>
              <a:t>“Quote.”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3DC3D47-848D-FB41-9D89-A789C15C5A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3361" y="4407218"/>
            <a:ext cx="7955280" cy="404812"/>
          </a:xfrm>
        </p:spPr>
        <p:txBody>
          <a:bodyPr tIns="91440">
            <a:noAutofit/>
          </a:bodyPr>
          <a:lstStyle>
            <a:lvl1pPr marL="0" indent="0">
              <a:lnSpc>
                <a:spcPts val="880"/>
              </a:lnSpc>
              <a:buNone/>
              <a:defRPr sz="1400" i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Attrib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E7D37EF-F47E-7646-A640-53C869243F0F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A77745-9FC9-1412-00DF-C2B7847590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034FE90-BA29-7692-AE19-2BA295005A46}"/>
              </a:ext>
            </a:extLst>
          </p:cNvPr>
          <p:cNvSpPr/>
          <p:nvPr userDrawn="1"/>
        </p:nvSpPr>
        <p:spPr>
          <a:xfrm>
            <a:off x="0" y="0"/>
            <a:ext cx="83312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F892BB-0E71-D87C-3452-85DB33904D54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963D22-AC0C-0DC8-9F87-A6D5C9AA72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230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960" userDrawn="1">
          <p15:clr>
            <a:srgbClr val="FBAE40"/>
          </p15:clr>
        </p15:guide>
        <p15:guide id="8" pos="936" userDrawn="1">
          <p15:clr>
            <a:srgbClr val="FBAE40"/>
          </p15:clr>
        </p15:guide>
        <p15:guide id="9" pos="5952" userDrawn="1">
          <p15:clr>
            <a:srgbClr val="FBAE40"/>
          </p15:clr>
        </p15:guide>
        <p15:guide id="10" orient="horz" pos="2688" userDrawn="1">
          <p15:clr>
            <a:srgbClr val="FBAE40"/>
          </p15:clr>
        </p15:guide>
        <p15:guide id="11" orient="horz" pos="2760" userDrawn="1">
          <p15:clr>
            <a:srgbClr val="FBAE40"/>
          </p15:clr>
        </p15:guide>
        <p15:guide id="12" orient="horz" pos="3024" userDrawn="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0F14312-84C0-444B-A37B-78B6E7600AE4}"/>
              </a:ext>
            </a:extLst>
          </p:cNvPr>
          <p:cNvSpPr/>
          <p:nvPr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468927D-873E-6F5C-21DE-8BB60E3898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590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7643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4F5234B-206E-8947-ACA6-B098E14C8FB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A3D6B5A-383E-41D5-8F77-DB7ACDD451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60540" y="2597744"/>
            <a:ext cx="2670921" cy="166251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16C694F-B532-4C48-2144-B7886C1522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F934EB4-8B5E-5BC3-AB5C-E2A4C5C42F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60540" y="2597744"/>
            <a:ext cx="2670921" cy="166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53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E41F5D6-71C7-8540-A903-95BE29BA58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4B70C23-CE74-FE49-A806-7EA59C5E46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tretch>
            <a:fillRect/>
          </a:stretch>
        </p:blipFill>
        <p:spPr>
          <a:xfrm>
            <a:off x="2782206" y="0"/>
            <a:ext cx="807893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6B7153-126F-D241-BC17-23723800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3616960"/>
            <a:ext cx="8227542" cy="1312075"/>
          </a:xfrm>
        </p:spPr>
        <p:txBody>
          <a:bodyPr anchor="b" anchorCtr="0"/>
          <a:lstStyle>
            <a:lvl1pPr algn="l">
              <a:defRPr sz="5400" b="0" i="0">
                <a:solidFill>
                  <a:schemeClr val="bg2">
                    <a:lumMod val="25000"/>
                  </a:schemeClr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EB26B32-06CE-7743-B082-7648A0284080}"/>
              </a:ext>
            </a:extLst>
          </p:cNvPr>
          <p:cNvSpPr txBox="1">
            <a:spLocks/>
          </p:cNvSpPr>
          <p:nvPr userDrawn="1"/>
        </p:nvSpPr>
        <p:spPr>
          <a:xfrm>
            <a:off x="650240" y="4953000"/>
            <a:ext cx="8227542" cy="13120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i="0" kern="120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endParaRPr lang="en-US" sz="3600" i="1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A921F85-DFB0-C94F-B82E-F2E18576B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6113" y="5029200"/>
            <a:ext cx="8251825" cy="1238250"/>
          </a:xfrm>
        </p:spPr>
        <p:txBody>
          <a:bodyPr anchor="t" anchorCtr="0"/>
          <a:lstStyle>
            <a:lvl1pPr marL="0" indent="0">
              <a:buNone/>
              <a:defRPr sz="3200" i="1">
                <a:solidFill>
                  <a:schemeClr val="bg2">
                    <a:lumMod val="25000"/>
                  </a:schemeClr>
                </a:solidFill>
                <a:latin typeface="+mj-lt"/>
              </a:defRPr>
            </a:lvl1pPr>
            <a:lvl2pPr marL="457200" indent="0"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sub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46D4E3C-7F9C-880F-4424-22C22CA6065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1330" y="590551"/>
            <a:ext cx="2299450" cy="143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673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73BE32-2348-6240-ADA3-6900CAF09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966518-0B53-0448-A378-BFBA91FB5B7A}"/>
              </a:ext>
            </a:extLst>
          </p:cNvPr>
          <p:cNvSpPr/>
          <p:nvPr userDrawn="1"/>
        </p:nvSpPr>
        <p:spPr>
          <a:xfrm>
            <a:off x="0" y="0"/>
            <a:ext cx="83312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F07E31C-8290-1A40-A30F-16D9DC22A6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3361" y="1548050"/>
            <a:ext cx="7955280" cy="272005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200">
                <a:latin typeface="+mj-lt"/>
              </a:defRPr>
            </a:lvl1pPr>
          </a:lstStyle>
          <a:p>
            <a:pPr lvl="0"/>
            <a:r>
              <a:rPr lang="en-US"/>
              <a:t>“Quote.”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3DC3D47-848D-FB41-9D89-A789C15C5A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3361" y="4407218"/>
            <a:ext cx="7955280" cy="404812"/>
          </a:xfrm>
        </p:spPr>
        <p:txBody>
          <a:bodyPr tIns="91440">
            <a:noAutofit/>
          </a:bodyPr>
          <a:lstStyle>
            <a:lvl1pPr marL="0" indent="0">
              <a:lnSpc>
                <a:spcPts val="880"/>
              </a:lnSpc>
              <a:buNone/>
              <a:defRPr sz="1400" i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Attrib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E7D37EF-F47E-7646-A640-53C869243F0F}"/>
              </a:ext>
            </a:extLst>
          </p:cNvPr>
          <p:cNvSpPr/>
          <p:nvPr userDrawn="1"/>
        </p:nvSpPr>
        <p:spPr>
          <a:xfrm>
            <a:off x="10484312" y="0"/>
            <a:ext cx="1707688" cy="1359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328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A77745-9FC9-1412-00DF-C2B7847590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5738" y="257728"/>
            <a:ext cx="1350962" cy="84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969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60" userDrawn="1">
          <p15:clr>
            <a:srgbClr val="FBAE40"/>
          </p15:clr>
        </p15:guide>
        <p15:guide id="2" pos="936" userDrawn="1">
          <p15:clr>
            <a:srgbClr val="FBAE40"/>
          </p15:clr>
        </p15:guide>
        <p15:guide id="3" pos="5952" userDrawn="1">
          <p15:clr>
            <a:srgbClr val="FBAE40"/>
          </p15:clr>
        </p15:guide>
        <p15:guide id="4" orient="horz" pos="2688" userDrawn="1">
          <p15:clr>
            <a:srgbClr val="FBAE40"/>
          </p15:clr>
        </p15:guide>
        <p15:guide id="5" orient="horz" pos="2760" userDrawn="1">
          <p15:clr>
            <a:srgbClr val="FBAE40"/>
          </p15:clr>
        </p15:guide>
        <p15:guide id="6" orient="horz" pos="302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26.xml"/><Relationship Id="rId21" Type="http://schemas.openxmlformats.org/officeDocument/2006/relationships/slideLayout" Target="../slideLayouts/slideLayout30.xml"/><Relationship Id="rId42" Type="http://schemas.openxmlformats.org/officeDocument/2006/relationships/slideLayout" Target="../slideLayouts/slideLayout51.xml"/><Relationship Id="rId47" Type="http://schemas.openxmlformats.org/officeDocument/2006/relationships/slideLayout" Target="../slideLayouts/slideLayout56.xml"/><Relationship Id="rId63" Type="http://schemas.openxmlformats.org/officeDocument/2006/relationships/slideLayout" Target="../slideLayouts/slideLayout72.xml"/><Relationship Id="rId68" Type="http://schemas.openxmlformats.org/officeDocument/2006/relationships/slideLayout" Target="../slideLayouts/slideLayout77.xml"/><Relationship Id="rId84" Type="http://schemas.openxmlformats.org/officeDocument/2006/relationships/slideLayout" Target="../slideLayouts/slideLayout93.xml"/><Relationship Id="rId89" Type="http://schemas.openxmlformats.org/officeDocument/2006/relationships/slideLayout" Target="../slideLayouts/slideLayout98.xml"/><Relationship Id="rId112" Type="http://schemas.openxmlformats.org/officeDocument/2006/relationships/slideLayout" Target="../slideLayouts/slideLayout121.xml"/><Relationship Id="rId16" Type="http://schemas.openxmlformats.org/officeDocument/2006/relationships/slideLayout" Target="../slideLayouts/slideLayout25.xml"/><Relationship Id="rId107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20.xml"/><Relationship Id="rId32" Type="http://schemas.openxmlformats.org/officeDocument/2006/relationships/slideLayout" Target="../slideLayouts/slideLayout41.xml"/><Relationship Id="rId37" Type="http://schemas.openxmlformats.org/officeDocument/2006/relationships/slideLayout" Target="../slideLayouts/slideLayout46.xml"/><Relationship Id="rId53" Type="http://schemas.openxmlformats.org/officeDocument/2006/relationships/slideLayout" Target="../slideLayouts/slideLayout62.xml"/><Relationship Id="rId58" Type="http://schemas.openxmlformats.org/officeDocument/2006/relationships/slideLayout" Target="../slideLayouts/slideLayout67.xml"/><Relationship Id="rId74" Type="http://schemas.openxmlformats.org/officeDocument/2006/relationships/slideLayout" Target="../slideLayouts/slideLayout83.xml"/><Relationship Id="rId79" Type="http://schemas.openxmlformats.org/officeDocument/2006/relationships/slideLayout" Target="../slideLayouts/slideLayout88.xml"/><Relationship Id="rId102" Type="http://schemas.openxmlformats.org/officeDocument/2006/relationships/slideLayout" Target="../slideLayouts/slideLayout111.xml"/><Relationship Id="rId123" Type="http://schemas.openxmlformats.org/officeDocument/2006/relationships/slideLayout" Target="../slideLayouts/slideLayout132.xml"/><Relationship Id="rId128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4.xml"/><Relationship Id="rId90" Type="http://schemas.openxmlformats.org/officeDocument/2006/relationships/slideLayout" Target="../slideLayouts/slideLayout99.xml"/><Relationship Id="rId95" Type="http://schemas.openxmlformats.org/officeDocument/2006/relationships/slideLayout" Target="../slideLayouts/slideLayout104.xml"/><Relationship Id="rId22" Type="http://schemas.openxmlformats.org/officeDocument/2006/relationships/slideLayout" Target="../slideLayouts/slideLayout31.xml"/><Relationship Id="rId27" Type="http://schemas.openxmlformats.org/officeDocument/2006/relationships/slideLayout" Target="../slideLayouts/slideLayout36.xml"/><Relationship Id="rId43" Type="http://schemas.openxmlformats.org/officeDocument/2006/relationships/slideLayout" Target="../slideLayouts/slideLayout52.xml"/><Relationship Id="rId48" Type="http://schemas.openxmlformats.org/officeDocument/2006/relationships/slideLayout" Target="../slideLayouts/slideLayout57.xml"/><Relationship Id="rId64" Type="http://schemas.openxmlformats.org/officeDocument/2006/relationships/slideLayout" Target="../slideLayouts/slideLayout73.xml"/><Relationship Id="rId69" Type="http://schemas.openxmlformats.org/officeDocument/2006/relationships/slideLayout" Target="../slideLayouts/slideLayout78.xml"/><Relationship Id="rId113" Type="http://schemas.openxmlformats.org/officeDocument/2006/relationships/slideLayout" Target="../slideLayouts/slideLayout122.xml"/><Relationship Id="rId118" Type="http://schemas.openxmlformats.org/officeDocument/2006/relationships/slideLayout" Target="../slideLayouts/slideLayout127.xml"/><Relationship Id="rId80" Type="http://schemas.openxmlformats.org/officeDocument/2006/relationships/slideLayout" Target="../slideLayouts/slideLayout89.xml"/><Relationship Id="rId85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33" Type="http://schemas.openxmlformats.org/officeDocument/2006/relationships/slideLayout" Target="../slideLayouts/slideLayout42.xml"/><Relationship Id="rId38" Type="http://schemas.openxmlformats.org/officeDocument/2006/relationships/slideLayout" Target="../slideLayouts/slideLayout47.xml"/><Relationship Id="rId59" Type="http://schemas.openxmlformats.org/officeDocument/2006/relationships/slideLayout" Target="../slideLayouts/slideLayout68.xml"/><Relationship Id="rId103" Type="http://schemas.openxmlformats.org/officeDocument/2006/relationships/slideLayout" Target="../slideLayouts/slideLayout112.xml"/><Relationship Id="rId108" Type="http://schemas.openxmlformats.org/officeDocument/2006/relationships/slideLayout" Target="../slideLayouts/slideLayout117.xml"/><Relationship Id="rId124" Type="http://schemas.openxmlformats.org/officeDocument/2006/relationships/slideLayout" Target="../slideLayouts/slideLayout133.xml"/><Relationship Id="rId129" Type="http://schemas.openxmlformats.org/officeDocument/2006/relationships/theme" Target="../theme/theme2.xml"/><Relationship Id="rId54" Type="http://schemas.openxmlformats.org/officeDocument/2006/relationships/slideLayout" Target="../slideLayouts/slideLayout63.xml"/><Relationship Id="rId70" Type="http://schemas.openxmlformats.org/officeDocument/2006/relationships/slideLayout" Target="../slideLayouts/slideLayout79.xml"/><Relationship Id="rId75" Type="http://schemas.openxmlformats.org/officeDocument/2006/relationships/slideLayout" Target="../slideLayouts/slideLayout84.xml"/><Relationship Id="rId91" Type="http://schemas.openxmlformats.org/officeDocument/2006/relationships/slideLayout" Target="../slideLayouts/slideLayout100.xml"/><Relationship Id="rId96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32.xml"/><Relationship Id="rId28" Type="http://schemas.openxmlformats.org/officeDocument/2006/relationships/slideLayout" Target="../slideLayouts/slideLayout37.xml"/><Relationship Id="rId49" Type="http://schemas.openxmlformats.org/officeDocument/2006/relationships/slideLayout" Target="../slideLayouts/slideLayout58.xml"/><Relationship Id="rId114" Type="http://schemas.openxmlformats.org/officeDocument/2006/relationships/slideLayout" Target="../slideLayouts/slideLayout123.xml"/><Relationship Id="rId119" Type="http://schemas.openxmlformats.org/officeDocument/2006/relationships/slideLayout" Target="../slideLayouts/slideLayout128.xml"/><Relationship Id="rId44" Type="http://schemas.openxmlformats.org/officeDocument/2006/relationships/slideLayout" Target="../slideLayouts/slideLayout53.xml"/><Relationship Id="rId60" Type="http://schemas.openxmlformats.org/officeDocument/2006/relationships/slideLayout" Target="../slideLayouts/slideLayout69.xml"/><Relationship Id="rId65" Type="http://schemas.openxmlformats.org/officeDocument/2006/relationships/slideLayout" Target="../slideLayouts/slideLayout74.xml"/><Relationship Id="rId81" Type="http://schemas.openxmlformats.org/officeDocument/2006/relationships/slideLayout" Target="../slideLayouts/slideLayout90.xml"/><Relationship Id="rId86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39" Type="http://schemas.openxmlformats.org/officeDocument/2006/relationships/slideLayout" Target="../slideLayouts/slideLayout48.xml"/><Relationship Id="rId109" Type="http://schemas.openxmlformats.org/officeDocument/2006/relationships/slideLayout" Target="../slideLayouts/slideLayout118.xml"/><Relationship Id="rId34" Type="http://schemas.openxmlformats.org/officeDocument/2006/relationships/slideLayout" Target="../slideLayouts/slideLayout43.xml"/><Relationship Id="rId50" Type="http://schemas.openxmlformats.org/officeDocument/2006/relationships/slideLayout" Target="../slideLayouts/slideLayout59.xml"/><Relationship Id="rId55" Type="http://schemas.openxmlformats.org/officeDocument/2006/relationships/slideLayout" Target="../slideLayouts/slideLayout64.xml"/><Relationship Id="rId76" Type="http://schemas.openxmlformats.org/officeDocument/2006/relationships/slideLayout" Target="../slideLayouts/slideLayout85.xml"/><Relationship Id="rId97" Type="http://schemas.openxmlformats.org/officeDocument/2006/relationships/slideLayout" Target="../slideLayouts/slideLayout106.xml"/><Relationship Id="rId104" Type="http://schemas.openxmlformats.org/officeDocument/2006/relationships/slideLayout" Target="../slideLayouts/slideLayout113.xml"/><Relationship Id="rId120" Type="http://schemas.openxmlformats.org/officeDocument/2006/relationships/slideLayout" Target="../slideLayouts/slideLayout129.xml"/><Relationship Id="rId125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6.xml"/><Relationship Id="rId71" Type="http://schemas.openxmlformats.org/officeDocument/2006/relationships/slideLayout" Target="../slideLayouts/slideLayout80.xml"/><Relationship Id="rId92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11.xml"/><Relationship Id="rId29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33.xml"/><Relationship Id="rId40" Type="http://schemas.openxmlformats.org/officeDocument/2006/relationships/slideLayout" Target="../slideLayouts/slideLayout49.xml"/><Relationship Id="rId45" Type="http://schemas.openxmlformats.org/officeDocument/2006/relationships/slideLayout" Target="../slideLayouts/slideLayout54.xml"/><Relationship Id="rId66" Type="http://schemas.openxmlformats.org/officeDocument/2006/relationships/slideLayout" Target="../slideLayouts/slideLayout75.xml"/><Relationship Id="rId87" Type="http://schemas.openxmlformats.org/officeDocument/2006/relationships/slideLayout" Target="../slideLayouts/slideLayout96.xml"/><Relationship Id="rId110" Type="http://schemas.openxmlformats.org/officeDocument/2006/relationships/slideLayout" Target="../slideLayouts/slideLayout119.xml"/><Relationship Id="rId115" Type="http://schemas.openxmlformats.org/officeDocument/2006/relationships/slideLayout" Target="../slideLayouts/slideLayout124.xml"/><Relationship Id="rId61" Type="http://schemas.openxmlformats.org/officeDocument/2006/relationships/slideLayout" Target="../slideLayouts/slideLayout70.xml"/><Relationship Id="rId82" Type="http://schemas.openxmlformats.org/officeDocument/2006/relationships/slideLayout" Target="../slideLayouts/slideLayout91.xml"/><Relationship Id="rId1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23.xml"/><Relationship Id="rId30" Type="http://schemas.openxmlformats.org/officeDocument/2006/relationships/slideLayout" Target="../slideLayouts/slideLayout39.xml"/><Relationship Id="rId35" Type="http://schemas.openxmlformats.org/officeDocument/2006/relationships/slideLayout" Target="../slideLayouts/slideLayout44.xml"/><Relationship Id="rId56" Type="http://schemas.openxmlformats.org/officeDocument/2006/relationships/slideLayout" Target="../slideLayouts/slideLayout65.xml"/><Relationship Id="rId77" Type="http://schemas.openxmlformats.org/officeDocument/2006/relationships/slideLayout" Target="../slideLayouts/slideLayout86.xml"/><Relationship Id="rId100" Type="http://schemas.openxmlformats.org/officeDocument/2006/relationships/slideLayout" Target="../slideLayouts/slideLayout109.xml"/><Relationship Id="rId105" Type="http://schemas.openxmlformats.org/officeDocument/2006/relationships/slideLayout" Target="../slideLayouts/slideLayout114.xml"/><Relationship Id="rId126" Type="http://schemas.openxmlformats.org/officeDocument/2006/relationships/slideLayout" Target="../slideLayouts/slideLayout135.xml"/><Relationship Id="rId8" Type="http://schemas.openxmlformats.org/officeDocument/2006/relationships/slideLayout" Target="../slideLayouts/slideLayout17.xml"/><Relationship Id="rId51" Type="http://schemas.openxmlformats.org/officeDocument/2006/relationships/slideLayout" Target="../slideLayouts/slideLayout60.xml"/><Relationship Id="rId72" Type="http://schemas.openxmlformats.org/officeDocument/2006/relationships/slideLayout" Target="../slideLayouts/slideLayout81.xml"/><Relationship Id="rId93" Type="http://schemas.openxmlformats.org/officeDocument/2006/relationships/slideLayout" Target="../slideLayouts/slideLayout102.xml"/><Relationship Id="rId98" Type="http://schemas.openxmlformats.org/officeDocument/2006/relationships/slideLayout" Target="../slideLayouts/slideLayout107.xml"/><Relationship Id="rId121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12.xml"/><Relationship Id="rId25" Type="http://schemas.openxmlformats.org/officeDocument/2006/relationships/slideLayout" Target="../slideLayouts/slideLayout34.xml"/><Relationship Id="rId46" Type="http://schemas.openxmlformats.org/officeDocument/2006/relationships/slideLayout" Target="../slideLayouts/slideLayout55.xml"/><Relationship Id="rId67" Type="http://schemas.openxmlformats.org/officeDocument/2006/relationships/slideLayout" Target="../slideLayouts/slideLayout76.xml"/><Relationship Id="rId116" Type="http://schemas.openxmlformats.org/officeDocument/2006/relationships/slideLayout" Target="../slideLayouts/slideLayout125.xml"/><Relationship Id="rId20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50.xml"/><Relationship Id="rId62" Type="http://schemas.openxmlformats.org/officeDocument/2006/relationships/slideLayout" Target="../slideLayouts/slideLayout71.xml"/><Relationship Id="rId83" Type="http://schemas.openxmlformats.org/officeDocument/2006/relationships/slideLayout" Target="../slideLayouts/slideLayout92.xml"/><Relationship Id="rId88" Type="http://schemas.openxmlformats.org/officeDocument/2006/relationships/slideLayout" Target="../slideLayouts/slideLayout97.xml"/><Relationship Id="rId111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24.xml"/><Relationship Id="rId36" Type="http://schemas.openxmlformats.org/officeDocument/2006/relationships/slideLayout" Target="../slideLayouts/slideLayout45.xml"/><Relationship Id="rId57" Type="http://schemas.openxmlformats.org/officeDocument/2006/relationships/slideLayout" Target="../slideLayouts/slideLayout66.xml"/><Relationship Id="rId106" Type="http://schemas.openxmlformats.org/officeDocument/2006/relationships/slideLayout" Target="../slideLayouts/slideLayout115.xml"/><Relationship Id="rId127" Type="http://schemas.openxmlformats.org/officeDocument/2006/relationships/slideLayout" Target="../slideLayouts/slideLayout136.xml"/><Relationship Id="rId10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40.xml"/><Relationship Id="rId52" Type="http://schemas.openxmlformats.org/officeDocument/2006/relationships/slideLayout" Target="../slideLayouts/slideLayout61.xml"/><Relationship Id="rId73" Type="http://schemas.openxmlformats.org/officeDocument/2006/relationships/slideLayout" Target="../slideLayouts/slideLayout82.xml"/><Relationship Id="rId78" Type="http://schemas.openxmlformats.org/officeDocument/2006/relationships/slideLayout" Target="../slideLayouts/slideLayout87.xml"/><Relationship Id="rId94" Type="http://schemas.openxmlformats.org/officeDocument/2006/relationships/slideLayout" Target="../slideLayouts/slideLayout103.xml"/><Relationship Id="rId99" Type="http://schemas.openxmlformats.org/officeDocument/2006/relationships/slideLayout" Target="../slideLayouts/slideLayout108.xml"/><Relationship Id="rId101" Type="http://schemas.openxmlformats.org/officeDocument/2006/relationships/slideLayout" Target="../slideLayouts/slideLayout110.xml"/><Relationship Id="rId122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0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93C2FB-EF86-FD49-89EB-659751C158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181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831" r:id="rId2"/>
    <p:sldLayoutId id="2147483698" r:id="rId3"/>
    <p:sldLayoutId id="2147483827" r:id="rId4"/>
    <p:sldLayoutId id="2147483828" r:id="rId5"/>
    <p:sldLayoutId id="2147483829" r:id="rId6"/>
    <p:sldLayoutId id="2147483830" r:id="rId7"/>
    <p:sldLayoutId id="2147483832" r:id="rId8"/>
    <p:sldLayoutId id="2147483872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94721D0-A2D8-C742-BA85-923E334888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560" y="368135"/>
            <a:ext cx="7468656" cy="131207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9D0E10-DAFC-CC47-8CE3-1FD5F861DB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6400" y="1825625"/>
            <a:ext cx="11368066" cy="435133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DFC178-3DF8-E147-88FE-5D0230CD96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132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4717B8-6640-F340-8337-0BAA676A62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4E9DC4-5146-1042-BA04-61BE8A99CE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43208" y="633603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660AA-F4B9-9E4A-970E-DF14D91E0E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225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671" r:id="rId2"/>
    <p:sldLayoutId id="2147483867" r:id="rId3"/>
    <p:sldLayoutId id="2147483868" r:id="rId4"/>
    <p:sldLayoutId id="2147483869" r:id="rId5"/>
    <p:sldLayoutId id="2147483870" r:id="rId6"/>
    <p:sldLayoutId id="2147483706" r:id="rId7"/>
    <p:sldLayoutId id="2147483711" r:id="rId8"/>
    <p:sldLayoutId id="2147483673" r:id="rId9"/>
    <p:sldLayoutId id="2147483707" r:id="rId10"/>
    <p:sldLayoutId id="2147483712" r:id="rId11"/>
    <p:sldLayoutId id="2147483674" r:id="rId12"/>
    <p:sldLayoutId id="2147483708" r:id="rId13"/>
    <p:sldLayoutId id="2147483713" r:id="rId14"/>
    <p:sldLayoutId id="2147483709" r:id="rId15"/>
    <p:sldLayoutId id="2147483675" r:id="rId16"/>
    <p:sldLayoutId id="2147483714" r:id="rId17"/>
    <p:sldLayoutId id="2147483676" r:id="rId18"/>
    <p:sldLayoutId id="2147483710" r:id="rId19"/>
    <p:sldLayoutId id="2147483715" r:id="rId20"/>
    <p:sldLayoutId id="2147483677" r:id="rId21"/>
    <p:sldLayoutId id="2147483678" r:id="rId22"/>
    <p:sldLayoutId id="2147483754" r:id="rId23"/>
    <p:sldLayoutId id="2147483755" r:id="rId24"/>
    <p:sldLayoutId id="2147483756" r:id="rId25"/>
    <p:sldLayoutId id="2147483757" r:id="rId26"/>
    <p:sldLayoutId id="2147483753" r:id="rId27"/>
    <p:sldLayoutId id="2147483759" r:id="rId28"/>
    <p:sldLayoutId id="2147483760" r:id="rId29"/>
    <p:sldLayoutId id="2147483761" r:id="rId30"/>
    <p:sldLayoutId id="2147483762" r:id="rId31"/>
    <p:sldLayoutId id="2147483763" r:id="rId32"/>
    <p:sldLayoutId id="2147483764" r:id="rId33"/>
    <p:sldLayoutId id="2147483765" r:id="rId34"/>
    <p:sldLayoutId id="2147483766" r:id="rId35"/>
    <p:sldLayoutId id="2147483767" r:id="rId36"/>
    <p:sldLayoutId id="2147483768" r:id="rId37"/>
    <p:sldLayoutId id="2147483769" r:id="rId38"/>
    <p:sldLayoutId id="2147483758" r:id="rId39"/>
    <p:sldLayoutId id="2147483771" r:id="rId40"/>
    <p:sldLayoutId id="2147483772" r:id="rId41"/>
    <p:sldLayoutId id="2147483773" r:id="rId42"/>
    <p:sldLayoutId id="2147483774" r:id="rId43"/>
    <p:sldLayoutId id="2147483775" r:id="rId44"/>
    <p:sldLayoutId id="2147483717" r:id="rId45"/>
    <p:sldLayoutId id="2147483679" r:id="rId46"/>
    <p:sldLayoutId id="2147483680" r:id="rId47"/>
    <p:sldLayoutId id="2147483681" r:id="rId48"/>
    <p:sldLayoutId id="2147483776" r:id="rId49"/>
    <p:sldLayoutId id="2147483777" r:id="rId50"/>
    <p:sldLayoutId id="2147483770" r:id="rId51"/>
    <p:sldLayoutId id="2147483779" r:id="rId52"/>
    <p:sldLayoutId id="2147483780" r:id="rId53"/>
    <p:sldLayoutId id="2147483871" r:id="rId54"/>
    <p:sldLayoutId id="2147483781" r:id="rId55"/>
    <p:sldLayoutId id="2147483782" r:id="rId56"/>
    <p:sldLayoutId id="2147483783" r:id="rId57"/>
    <p:sldLayoutId id="2147483672" r:id="rId58"/>
    <p:sldLayoutId id="2147483778" r:id="rId59"/>
    <p:sldLayoutId id="2147483852" r:id="rId60"/>
    <p:sldLayoutId id="2147483853" r:id="rId61"/>
    <p:sldLayoutId id="2147483854" r:id="rId62"/>
    <p:sldLayoutId id="2147483855" r:id="rId63"/>
    <p:sldLayoutId id="2147483856" r:id="rId64"/>
    <p:sldLayoutId id="2147483857" r:id="rId65"/>
    <p:sldLayoutId id="2147483858" r:id="rId66"/>
    <p:sldLayoutId id="2147483859" r:id="rId67"/>
    <p:sldLayoutId id="2147483745" r:id="rId68"/>
    <p:sldLayoutId id="2147483860" r:id="rId69"/>
    <p:sldLayoutId id="2147483861" r:id="rId70"/>
    <p:sldLayoutId id="2147483862" r:id="rId71"/>
    <p:sldLayoutId id="2147483749" r:id="rId72"/>
    <p:sldLayoutId id="2147483863" r:id="rId73"/>
    <p:sldLayoutId id="2147483865" r:id="rId74"/>
    <p:sldLayoutId id="2147483785" r:id="rId75"/>
    <p:sldLayoutId id="2147483833" r:id="rId76"/>
    <p:sldLayoutId id="2147483786" r:id="rId77"/>
    <p:sldLayoutId id="2147483835" r:id="rId78"/>
    <p:sldLayoutId id="2147483836" r:id="rId79"/>
    <p:sldLayoutId id="2147483837" r:id="rId80"/>
    <p:sldLayoutId id="2147483838" r:id="rId81"/>
    <p:sldLayoutId id="2147483839" r:id="rId82"/>
    <p:sldLayoutId id="2147483840" r:id="rId83"/>
    <p:sldLayoutId id="2147483841" r:id="rId84"/>
    <p:sldLayoutId id="2147483842" r:id="rId85"/>
    <p:sldLayoutId id="2147483843" r:id="rId86"/>
    <p:sldLayoutId id="2147483844" r:id="rId87"/>
    <p:sldLayoutId id="2147483845" r:id="rId88"/>
    <p:sldLayoutId id="2147483846" r:id="rId89"/>
    <p:sldLayoutId id="2147483848" r:id="rId90"/>
    <p:sldLayoutId id="2147483849" r:id="rId91"/>
    <p:sldLayoutId id="2147483705" r:id="rId92"/>
    <p:sldLayoutId id="2147483694" r:id="rId93"/>
    <p:sldLayoutId id="2147483695" r:id="rId94"/>
    <p:sldLayoutId id="2147483702" r:id="rId95"/>
    <p:sldLayoutId id="2147483788" r:id="rId96"/>
    <p:sldLayoutId id="2147483729" r:id="rId97"/>
    <p:sldLayoutId id="2147483730" r:id="rId98"/>
    <p:sldLayoutId id="2147483731" r:id="rId99"/>
    <p:sldLayoutId id="2147483732" r:id="rId100"/>
    <p:sldLayoutId id="2147483734" r:id="rId101"/>
    <p:sldLayoutId id="2147483735" r:id="rId102"/>
    <p:sldLayoutId id="2147483784" r:id="rId103"/>
    <p:sldLayoutId id="2147483736" r:id="rId104"/>
    <p:sldLayoutId id="2147483738" r:id="rId105"/>
    <p:sldLayoutId id="2147483739" r:id="rId106"/>
    <p:sldLayoutId id="2147483740" r:id="rId107"/>
    <p:sldLayoutId id="2147483741" r:id="rId108"/>
    <p:sldLayoutId id="2147483742" r:id="rId109"/>
    <p:sldLayoutId id="2147483743" r:id="rId110"/>
    <p:sldLayoutId id="2147483744" r:id="rId111"/>
    <p:sldLayoutId id="2147483789" r:id="rId112"/>
    <p:sldLayoutId id="2147483787" r:id="rId113"/>
    <p:sldLayoutId id="2147483726" r:id="rId114"/>
    <p:sldLayoutId id="2147483727" r:id="rId115"/>
    <p:sldLayoutId id="2147483790" r:id="rId116"/>
    <p:sldLayoutId id="2147483791" r:id="rId117"/>
    <p:sldLayoutId id="2147483746" r:id="rId118"/>
    <p:sldLayoutId id="2147483747" r:id="rId119"/>
    <p:sldLayoutId id="2147483748" r:id="rId120"/>
    <p:sldLayoutId id="2147483793" r:id="rId121"/>
    <p:sldLayoutId id="2147483750" r:id="rId122"/>
    <p:sldLayoutId id="2147483752" r:id="rId123"/>
    <p:sldLayoutId id="2147483795" r:id="rId124"/>
    <p:sldLayoutId id="2147483796" r:id="rId125"/>
    <p:sldLayoutId id="2147483797" r:id="rId126"/>
    <p:sldLayoutId id="2147483660" r:id="rId127"/>
    <p:sldLayoutId id="2147483873" r:id="rId1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0" i="0" kern="1200">
          <a:solidFill>
            <a:schemeClr val="tx1"/>
          </a:solidFill>
          <a:latin typeface="+mj-lt"/>
          <a:ea typeface="+mj-ea"/>
          <a:cs typeface="Open Sans" panose="020B060603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Open Sans" pitchFamily="2" charset="0"/>
          <a:cs typeface="Open Sans" pitchFamily="2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Open Sans" pitchFamily="2" charset="0"/>
          <a:cs typeface="Open Sans" pitchFamily="2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Open Sans" pitchFamily="2" charset="0"/>
          <a:cs typeface="Open Sans" pitchFamily="2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Open Sans" pitchFamily="2" charset="0"/>
          <a:cs typeface="Open Sans" pitchFamily="2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Open Sans" pitchFamily="2" charset="0"/>
          <a:cs typeface="Open Sans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67.svg"/><Relationship Id="rId7" Type="http://schemas.openxmlformats.org/officeDocument/2006/relationships/image" Target="../media/image31.sv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12.xml"/><Relationship Id="rId6" Type="http://schemas.openxmlformats.org/officeDocument/2006/relationships/image" Target="../media/image30.png"/><Relationship Id="rId5" Type="http://schemas.openxmlformats.org/officeDocument/2006/relationships/image" Target="../media/image69.svg"/><Relationship Id="rId4" Type="http://schemas.openxmlformats.org/officeDocument/2006/relationships/image" Target="../media/image6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72.jpeg"/><Relationship Id="rId4" Type="http://schemas.openxmlformats.org/officeDocument/2006/relationships/image" Target="../media/image7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7.xml"/><Relationship Id="rId4" Type="http://schemas.openxmlformats.org/officeDocument/2006/relationships/image" Target="../media/image7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7.xml"/><Relationship Id="rId4" Type="http://schemas.openxmlformats.org/officeDocument/2006/relationships/image" Target="../media/image74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6.svg"/><Relationship Id="rId4" Type="http://schemas.openxmlformats.org/officeDocument/2006/relationships/image" Target="../media/image7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8.svg"/><Relationship Id="rId4" Type="http://schemas.openxmlformats.org/officeDocument/2006/relationships/image" Target="../media/image7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0.svg"/><Relationship Id="rId4" Type="http://schemas.openxmlformats.org/officeDocument/2006/relationships/image" Target="../media/image7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3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4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6.svg"/><Relationship Id="rId4" Type="http://schemas.openxmlformats.org/officeDocument/2006/relationships/image" Target="../media/image8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5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88.png"/><Relationship Id="rId7" Type="http://schemas.openxmlformats.org/officeDocument/2006/relationships/image" Target="../media/image92.sv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1.png"/><Relationship Id="rId5" Type="http://schemas.openxmlformats.org/officeDocument/2006/relationships/image" Target="../media/image90.svg"/><Relationship Id="rId10" Type="http://schemas.openxmlformats.org/officeDocument/2006/relationships/image" Target="../media/image35.png"/><Relationship Id="rId4" Type="http://schemas.openxmlformats.org/officeDocument/2006/relationships/image" Target="../media/image89.png"/><Relationship Id="rId9" Type="http://schemas.openxmlformats.org/officeDocument/2006/relationships/image" Target="../media/image94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6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7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8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eg"/><Relationship Id="rId7" Type="http://schemas.openxmlformats.org/officeDocument/2006/relationships/image" Target="../media/image103.sv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2.png"/><Relationship Id="rId5" Type="http://schemas.openxmlformats.org/officeDocument/2006/relationships/image" Target="../media/image101.svg"/><Relationship Id="rId4" Type="http://schemas.openxmlformats.org/officeDocument/2006/relationships/image" Target="../media/image10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7.jpeg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05.png"/><Relationship Id="rId5" Type="http://schemas.microsoft.com/office/2018/10/relationships/comments" Target="../comments/modernComment_2C7_EA05BB82.xml"/><Relationship Id="rId4" Type="http://schemas.openxmlformats.org/officeDocument/2006/relationships/notesSlide" Target="../notesSlides/notesSlide2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svg"/><Relationship Id="rId3" Type="http://schemas.openxmlformats.org/officeDocument/2006/relationships/image" Target="../media/image107.png"/><Relationship Id="rId7" Type="http://schemas.openxmlformats.org/officeDocument/2006/relationships/image" Target="../media/image11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0.svg"/><Relationship Id="rId5" Type="http://schemas.openxmlformats.org/officeDocument/2006/relationships/image" Target="../media/image109.png"/><Relationship Id="rId4" Type="http://schemas.openxmlformats.org/officeDocument/2006/relationships/image" Target="../media/image108.svg"/><Relationship Id="rId9" Type="http://schemas.openxmlformats.org/officeDocument/2006/relationships/image" Target="../media/image3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113.png"/><Relationship Id="rId4" Type="http://schemas.openxmlformats.org/officeDocument/2006/relationships/notesSlide" Target="../notesSlides/notesSlide2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322_75F3E2F4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png"/><Relationship Id="rId5" Type="http://schemas.openxmlformats.org/officeDocument/2006/relationships/image" Target="../media/image117.jpeg"/><Relationship Id="rId4" Type="http://schemas.openxmlformats.org/officeDocument/2006/relationships/image" Target="../media/image116.jpe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300_B71D6359.xml"/><Relationship Id="rId7" Type="http://schemas.openxmlformats.org/officeDocument/2006/relationships/image" Target="../media/image122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1.png"/><Relationship Id="rId5" Type="http://schemas.openxmlformats.org/officeDocument/2006/relationships/image" Target="../media/image120.png"/><Relationship Id="rId4" Type="http://schemas.openxmlformats.org/officeDocument/2006/relationships/image" Target="../media/image119.png"/></Relationships>
</file>

<file path=ppt/slides/_rels/slide3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301_1BAB5F3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3.png"/><Relationship Id="rId4" Type="http://schemas.openxmlformats.org/officeDocument/2006/relationships/image" Target="../media/image1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7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image" Target="../media/image124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svg"/><Relationship Id="rId3" Type="http://schemas.openxmlformats.org/officeDocument/2006/relationships/image" Target="../media/image40.png"/><Relationship Id="rId7" Type="http://schemas.openxmlformats.org/officeDocument/2006/relationships/image" Target="../media/image44.svg"/><Relationship Id="rId12" Type="http://schemas.openxmlformats.org/officeDocument/2006/relationships/image" Target="../media/image49.png"/><Relationship Id="rId17" Type="http://schemas.openxmlformats.org/officeDocument/2006/relationships/image" Target="../media/image54.svg"/><Relationship Id="rId2" Type="http://schemas.openxmlformats.org/officeDocument/2006/relationships/image" Target="../media/image35.png"/><Relationship Id="rId16" Type="http://schemas.openxmlformats.org/officeDocument/2006/relationships/image" Target="../media/image5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3.png"/><Relationship Id="rId11" Type="http://schemas.openxmlformats.org/officeDocument/2006/relationships/image" Target="../media/image48.svg"/><Relationship Id="rId5" Type="http://schemas.openxmlformats.org/officeDocument/2006/relationships/image" Target="../media/image42.svg"/><Relationship Id="rId15" Type="http://schemas.openxmlformats.org/officeDocument/2006/relationships/image" Target="../media/image52.sv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svg"/><Relationship Id="rId14" Type="http://schemas.openxmlformats.org/officeDocument/2006/relationships/image" Target="../media/image5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5.jpeg"/><Relationship Id="rId7" Type="http://schemas.openxmlformats.org/officeDocument/2006/relationships/image" Target="../media/image59.svg"/><Relationship Id="rId12" Type="http://schemas.openxmlformats.org/officeDocument/2006/relationships/image" Target="../media/image6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8.png"/><Relationship Id="rId11" Type="http://schemas.openxmlformats.org/officeDocument/2006/relationships/image" Target="../media/image62.jpeg"/><Relationship Id="rId5" Type="http://schemas.openxmlformats.org/officeDocument/2006/relationships/image" Target="../media/image57.svg"/><Relationship Id="rId10" Type="http://schemas.openxmlformats.org/officeDocument/2006/relationships/image" Target="../media/image35.png"/><Relationship Id="rId4" Type="http://schemas.openxmlformats.org/officeDocument/2006/relationships/image" Target="../media/image56.png"/><Relationship Id="rId9" Type="http://schemas.openxmlformats.org/officeDocument/2006/relationships/image" Target="../media/image61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wearing a graduation cap and gown  Description automatically generated">
            <a:extLst>
              <a:ext uri="{FF2B5EF4-FFF2-40B4-BE49-F238E27FC236}">
                <a16:creationId xmlns:a16="http://schemas.microsoft.com/office/drawing/2014/main" id="{F2DAB3DF-602F-4AB3-4A43-3A52A1D894F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DE34DFC-0472-B308-AAE6-1F6E93DDAE79}"/>
              </a:ext>
            </a:extLst>
          </p:cNvPr>
          <p:cNvSpPr/>
          <p:nvPr/>
        </p:nvSpPr>
        <p:spPr>
          <a:xfrm>
            <a:off x="1" y="1"/>
            <a:ext cx="12192000" cy="6857999"/>
          </a:xfrm>
          <a:prstGeom prst="rect">
            <a:avLst/>
          </a:prstGeom>
          <a:gradFill flip="none" rotWithShape="1">
            <a:gsLst>
              <a:gs pos="17000">
                <a:srgbClr val="FFBF05">
                  <a:alpha val="89851"/>
                </a:srgbClr>
              </a:gs>
              <a:gs pos="100000">
                <a:schemeClr val="accent1">
                  <a:lumMod val="0"/>
                  <a:lumOff val="100000"/>
                  <a:alpha val="0"/>
                </a:scheme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4" name="Picture 3" descr="Text  Description automatically generated">
            <a:extLst>
              <a:ext uri="{FF2B5EF4-FFF2-40B4-BE49-F238E27FC236}">
                <a16:creationId xmlns:a16="http://schemas.microsoft.com/office/drawing/2014/main" id="{97A0E9CE-17FB-B683-D8C6-41FFC3160A5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271" y="546205"/>
            <a:ext cx="2205174" cy="1380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19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23">
            <a:extLst>
              <a:ext uri="{FF2B5EF4-FFF2-40B4-BE49-F238E27FC236}">
                <a16:creationId xmlns:a16="http://schemas.microsoft.com/office/drawing/2014/main" id="{1F256DD5-6568-B3D0-1D02-411E0802F654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b="17719"/>
          <a:stretch/>
        </p:blipFill>
        <p:spPr>
          <a:xfrm>
            <a:off x="1009708" y="2048302"/>
            <a:ext cx="2922734" cy="2404872"/>
          </a:xfr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E5360234-A6FA-4FE7-3C0B-C21B407E3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356" y="793609"/>
            <a:ext cx="9469120" cy="426720"/>
          </a:xfrm>
        </p:spPr>
        <p:txBody>
          <a:bodyPr/>
          <a:lstStyle/>
          <a:p>
            <a:pPr>
              <a:defRPr sz="4400">
                <a:latin typeface="Calibri Light"/>
                <a:cs typeface="Open Sans"/>
              </a:defRPr>
            </a:pPr>
            <a:r>
              <a:t>Cómo consiguen trabajo los estudiant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646624-23AA-4112-2498-F78A435059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9</a:t>
            </a:fld>
            <a:endParaRPr lang="en-US"/>
          </a:p>
        </p:txBody>
      </p:sp>
      <p:pic>
        <p:nvPicPr>
          <p:cNvPr id="13" name="Content Placeholder 15">
            <a:extLst>
              <a:ext uri="{FF2B5EF4-FFF2-40B4-BE49-F238E27FC236}">
                <a16:creationId xmlns:a16="http://schemas.microsoft.com/office/drawing/2014/main" id="{01A3FC43-DFC9-F444-9663-844F9993DB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74443" y="2404826"/>
            <a:ext cx="2048348" cy="2048348"/>
          </a:xfrm>
          <a:prstGeom prst="rect">
            <a:avLst/>
          </a:prstGeom>
        </p:spPr>
      </p:pic>
      <p:pic>
        <p:nvPicPr>
          <p:cNvPr id="14" name="Content Placeholder 19">
            <a:extLst>
              <a:ext uri="{FF2B5EF4-FFF2-40B4-BE49-F238E27FC236}">
                <a16:creationId xmlns:a16="http://schemas.microsoft.com/office/drawing/2014/main" id="{6074E156-2D2C-C853-A71B-0706B2FAC75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b="17719"/>
          <a:stretch/>
        </p:blipFill>
        <p:spPr>
          <a:xfrm>
            <a:off x="4758452" y="2151885"/>
            <a:ext cx="2922735" cy="240487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BE770EFB-6961-C091-C1B2-C551AA033ED2}"/>
              </a:ext>
            </a:extLst>
          </p:cNvPr>
          <p:cNvSpPr txBox="1"/>
          <p:nvPr/>
        </p:nvSpPr>
        <p:spPr>
          <a:xfrm>
            <a:off x="516833" y="4811582"/>
            <a:ext cx="390848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kern="1200">
                <a:ln>
                  <a:noFill/>
                </a:ln>
                <a:solidFill>
                  <a:srgbClr val="3A929D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t>EMPLEO LOC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FA081FD-9098-3A38-3995-211EBEBA672C}"/>
              </a:ext>
            </a:extLst>
          </p:cNvPr>
          <p:cNvSpPr txBox="1"/>
          <p:nvPr/>
        </p:nvSpPr>
        <p:spPr>
          <a:xfrm>
            <a:off x="7740174" y="4811582"/>
            <a:ext cx="390848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kern="1200">
                <a:ln>
                  <a:noFill/>
                </a:ln>
                <a:solidFill>
                  <a:srgbClr val="3A929D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t>EMPRENDIMIENTO</a:t>
            </a:r>
            <a:endParaRPr kumimoji="0" lang="en-US" sz="2800" b="1" u="none" strike="noStrike" kern="1200" cap="none" spc="0" normalizeH="0" baseline="0" noProof="0">
              <a:ln>
                <a:noFill/>
              </a:ln>
              <a:solidFill>
                <a:srgbClr val="3A929D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71D078D-E770-9DDC-AAA4-4C5521326957}"/>
              </a:ext>
            </a:extLst>
          </p:cNvPr>
          <p:cNvSpPr txBox="1"/>
          <p:nvPr/>
        </p:nvSpPr>
        <p:spPr>
          <a:xfrm>
            <a:off x="4265576" y="4812228"/>
            <a:ext cx="390848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kern="1200">
                <a:ln>
                  <a:noFill/>
                </a:ln>
                <a:solidFill>
                  <a:srgbClr val="3A929D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t>TRABAJOS REMOTO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9FC9847-0286-029B-089D-EDBA69DD3D15}"/>
              </a:ext>
            </a:extLst>
          </p:cNvPr>
          <p:cNvSpPr/>
          <p:nvPr/>
        </p:nvSpPr>
        <p:spPr>
          <a:xfrm>
            <a:off x="10479505" y="0"/>
            <a:ext cx="1712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5" name="Picture 4" descr="Text  Description automatically generated">
            <a:extLst>
              <a:ext uri="{FF2B5EF4-FFF2-40B4-BE49-F238E27FC236}">
                <a16:creationId xmlns:a16="http://schemas.microsoft.com/office/drawing/2014/main" id="{040F7020-F9E4-8D7C-EB3F-832B4D4AD35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849" y="298189"/>
            <a:ext cx="1313807" cy="826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657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D921F31C-1FB1-9CF1-8BF2-426893DE041A}"/>
              </a:ext>
            </a:extLst>
          </p:cNvPr>
          <p:cNvSpPr/>
          <p:nvPr/>
        </p:nvSpPr>
        <p:spPr>
          <a:xfrm>
            <a:off x="4724399" y="3383214"/>
            <a:ext cx="6436291" cy="160333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07163" dist="175218" dir="5400000" algn="t" rotWithShape="0">
              <a:prstClr val="black">
                <a:alpha val="10309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C31E8D8-66FB-1FE8-789C-028F39D091BC}"/>
              </a:ext>
            </a:extLst>
          </p:cNvPr>
          <p:cNvSpPr/>
          <p:nvPr/>
        </p:nvSpPr>
        <p:spPr>
          <a:xfrm>
            <a:off x="4724399" y="1640910"/>
            <a:ext cx="6436291" cy="160333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07163" dist="175218" dir="5400000" algn="t" rotWithShape="0">
              <a:prstClr val="black">
                <a:alpha val="10309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9DF289-C5D8-A740-07DB-8FADEEE5E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rabajos remoto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AD386F1-F22E-CF4B-4EF8-839D5722921A}"/>
              </a:ext>
            </a:extLst>
          </p:cNvPr>
          <p:cNvSpPr txBox="1"/>
          <p:nvPr/>
        </p:nvSpPr>
        <p:spPr>
          <a:xfrm>
            <a:off x="4724399" y="5138321"/>
            <a:ext cx="6684219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  <a:defRPr sz="2400">
                <a:solidFill>
                  <a:schemeClr val="bg2">
                    <a:lumMod val="25000"/>
                  </a:schemeClr>
                </a:solidFill>
              </a:defRPr>
            </a:pPr>
            <a:r>
              <a:rPr err="1"/>
              <a:t>Oportunidad</a:t>
            </a:r>
            <a:r>
              <a:t> de </a:t>
            </a:r>
            <a:r>
              <a:rPr err="1"/>
              <a:t>crecimiento</a:t>
            </a:r>
            <a:endParaRPr lang="en-US" sz="2400" err="1">
              <a:solidFill>
                <a:schemeClr val="bg2">
                  <a:lumMod val="25000"/>
                </a:schemeClr>
              </a:solidFill>
              <a:ea typeface="Calibri"/>
              <a:cs typeface="Calibri"/>
            </a:endParaRPr>
          </a:p>
          <a:p>
            <a:pPr marL="457200" indent="-457200" algn="l">
              <a:buFont typeface="Arial" panose="020B0604020202020204" pitchFamily="34" charset="0"/>
              <a:buChar char="•"/>
              <a:defRPr sz="2400">
                <a:solidFill>
                  <a:schemeClr val="bg2">
                    <a:lumMod val="25000"/>
                  </a:schemeClr>
                </a:solidFill>
              </a:defRPr>
            </a:pPr>
            <a:r>
              <a:t>Permite a </a:t>
            </a:r>
            <a:r>
              <a:rPr err="1"/>
              <a:t>los</a:t>
            </a:r>
            <a:r>
              <a:t> </a:t>
            </a:r>
            <a:r>
              <a:rPr err="1"/>
              <a:t>estudiantes</a:t>
            </a:r>
            <a:r>
              <a:t> </a:t>
            </a:r>
            <a:r>
              <a:rPr err="1"/>
              <a:t>permanecer</a:t>
            </a:r>
            <a:r>
              <a:t> </a:t>
            </a:r>
            <a:r>
              <a:rPr err="1"/>
              <a:t>en</a:t>
            </a:r>
            <a:r>
              <a:t> </a:t>
            </a:r>
            <a:r>
              <a:rPr lang="en-US" err="1"/>
              <a:t>su</a:t>
            </a:r>
            <a:r>
              <a:t> </a:t>
            </a:r>
            <a:r>
              <a:rPr lang="en-US" err="1"/>
              <a:t>país</a:t>
            </a:r>
            <a:r>
              <a:t> de </a:t>
            </a:r>
            <a:r>
              <a:rPr err="1"/>
              <a:t>origen</a:t>
            </a:r>
            <a:endParaRPr lang="en-US" sz="2400" err="1">
              <a:solidFill>
                <a:schemeClr val="bg2">
                  <a:lumMod val="25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341FD57-6A23-9EAE-4BDD-CAC349729806}"/>
              </a:ext>
            </a:extLst>
          </p:cNvPr>
          <p:cNvSpPr txBox="1"/>
          <p:nvPr/>
        </p:nvSpPr>
        <p:spPr>
          <a:xfrm>
            <a:off x="6196430" y="1879442"/>
            <a:ext cx="1800493" cy="7078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4000" b="1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t>1,300+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C59D464-D814-8A2A-D041-1B74971D1040}"/>
              </a:ext>
            </a:extLst>
          </p:cNvPr>
          <p:cNvSpPr txBox="1"/>
          <p:nvPr/>
        </p:nvSpPr>
        <p:spPr>
          <a:xfrm>
            <a:off x="5104575" y="2520480"/>
            <a:ext cx="6569900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 sz="2400">
                <a:solidFill>
                  <a:schemeClr val="bg2">
                    <a:lumMod val="25000"/>
                  </a:schemeClr>
                </a:solidFill>
              </a:defRPr>
            </a:pPr>
            <a:r>
              <a:rPr sz="2000" err="1"/>
              <a:t>Estudiantes</a:t>
            </a:r>
            <a:r>
              <a:rPr sz="2000"/>
              <a:t> </a:t>
            </a:r>
            <a:r>
              <a:rPr sz="2000" err="1"/>
              <a:t>obtuvieron</a:t>
            </a:r>
            <a:r>
              <a:rPr sz="2000"/>
              <a:t> </a:t>
            </a:r>
            <a:r>
              <a:rPr sz="2000" err="1"/>
              <a:t>trabajos</a:t>
            </a:r>
            <a:r>
              <a:rPr sz="2000"/>
              <a:t> </a:t>
            </a:r>
            <a:r>
              <a:rPr sz="2000" err="1"/>
              <a:t>remotos</a:t>
            </a:r>
            <a:r>
              <a:rPr sz="2000"/>
              <a:t> </a:t>
            </a:r>
            <a:r>
              <a:rPr sz="2000" err="1"/>
              <a:t>en</a:t>
            </a:r>
            <a:r>
              <a:rPr sz="2000"/>
              <a:t> 2022</a:t>
            </a:r>
            <a:endParaRPr lang="en-US" sz="2000">
              <a:ea typeface="Open Sans Light"/>
              <a:cs typeface="Open Sans Light"/>
            </a:endParaRPr>
          </a:p>
        </p:txBody>
      </p:sp>
      <p:pic>
        <p:nvPicPr>
          <p:cNvPr id="15" name="Picture 14" descr="Icon  Description automatically generated">
            <a:extLst>
              <a:ext uri="{FF2B5EF4-FFF2-40B4-BE49-F238E27FC236}">
                <a16:creationId xmlns:a16="http://schemas.microsoft.com/office/drawing/2014/main" id="{8A83AB06-9D28-F46A-961D-EF3C414626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2280" y="1501321"/>
            <a:ext cx="1258518" cy="125851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A735293-87D8-8CAC-E0CA-70E6BB935B57}"/>
              </a:ext>
            </a:extLst>
          </p:cNvPr>
          <p:cNvSpPr txBox="1"/>
          <p:nvPr/>
        </p:nvSpPr>
        <p:spPr>
          <a:xfrm>
            <a:off x="6260798" y="3684458"/>
            <a:ext cx="6569900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 sz="2400">
                <a:solidFill>
                  <a:schemeClr val="bg2">
                    <a:lumMod val="25000"/>
                  </a:schemeClr>
                </a:solidFill>
              </a:defRPr>
            </a:pPr>
            <a:r>
              <a:rPr sz="2000" err="1"/>
              <a:t>Aumento</a:t>
            </a:r>
            <a:r>
              <a:rPr sz="2000"/>
              <a:t> </a:t>
            </a:r>
            <a:r>
              <a:rPr sz="2000" err="1"/>
              <a:t>promedio</a:t>
            </a:r>
            <a:r>
              <a:rPr sz="2000"/>
              <a:t> de </a:t>
            </a:r>
            <a:r>
              <a:rPr sz="2000" err="1"/>
              <a:t>ingresos</a:t>
            </a:r>
            <a:r>
              <a:rPr sz="2000"/>
              <a:t> del</a:t>
            </a:r>
            <a:endParaRPr lang="en-US" sz="2000">
              <a:ea typeface="Open Sans Light"/>
              <a:cs typeface="Open Sans Ligh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2FBDC5A-D8BC-1372-6317-A0725F7EF076}"/>
              </a:ext>
            </a:extLst>
          </p:cNvPr>
          <p:cNvSpPr txBox="1"/>
          <p:nvPr/>
        </p:nvSpPr>
        <p:spPr>
          <a:xfrm>
            <a:off x="6250363" y="4049762"/>
            <a:ext cx="1372492" cy="7078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4000" b="1">
                <a:solidFill>
                  <a:schemeClr val="accent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t>200</a:t>
            </a:r>
            <a:r>
              <a:rPr baseline="30000"/>
              <a:t>%</a:t>
            </a:r>
          </a:p>
        </p:txBody>
      </p:sp>
      <p:pic>
        <p:nvPicPr>
          <p:cNvPr id="20" name="Picture 19" descr="Icon  Description automatically generated">
            <a:extLst>
              <a:ext uri="{FF2B5EF4-FFF2-40B4-BE49-F238E27FC236}">
                <a16:creationId xmlns:a16="http://schemas.microsoft.com/office/drawing/2014/main" id="{D2F16718-1BFF-1308-92C5-75C13A9DA4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0800000">
            <a:off x="5091087" y="3639409"/>
            <a:ext cx="1080903" cy="1080903"/>
          </a:xfrm>
          <a:prstGeom prst="rect">
            <a:avLst/>
          </a:prstGeom>
        </p:spPr>
      </p:pic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EB433D99-F3C8-EBE0-4A69-826FF95E31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660AA-F4B9-9E4A-970E-DF14D91E0EC0}" type="slidenum">
              <a:rPr lang="en-US" smtClean="0"/>
              <a:t>10</a:t>
            </a:fld>
            <a:endParaRPr lang="en-US"/>
          </a:p>
        </p:txBody>
      </p:sp>
      <p:pic>
        <p:nvPicPr>
          <p:cNvPr id="2" name="Picture 3">
            <a:extLst>
              <a:ext uri="{FF2B5EF4-FFF2-40B4-BE49-F238E27FC236}">
                <a16:creationId xmlns:a16="http://schemas.microsoft.com/office/drawing/2014/main" id="{ABCF82B9-C207-3268-181B-F5D4C187906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336" t="-214" r="1339" b="78"/>
          <a:stretch/>
        </p:blipFill>
        <p:spPr>
          <a:xfrm>
            <a:off x="622852" y="-13253"/>
            <a:ext cx="3794141" cy="6203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766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57A1E5-BB56-3949-BF3A-C64C36CAB6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62321" y="1470610"/>
            <a:ext cx="6227220" cy="3228343"/>
          </a:xfrm>
        </p:spPr>
        <p:txBody>
          <a:bodyPr>
            <a:normAutofit/>
          </a:bodyPr>
          <a:lstStyle/>
          <a:p>
            <a:pPr marL="172720" indent="-172720">
              <a:defRPr>
                <a:latin typeface="Calibri Light"/>
                <a:ea typeface="Open Sans"/>
                <a:cs typeface="Open Sans"/>
              </a:defRPr>
            </a:pPr>
            <a:r>
              <a:t>"</a:t>
            </a:r>
            <a:r>
              <a:rPr lang="en-US" err="1"/>
              <a:t>Ahora</a:t>
            </a:r>
            <a:r>
              <a:t> </a:t>
            </a:r>
            <a:r>
              <a:rPr lang="en-US" err="1"/>
              <a:t>gano</a:t>
            </a:r>
            <a:r>
              <a:t> </a:t>
            </a:r>
            <a:r>
              <a:rPr lang="en-US" err="1"/>
              <a:t>el</a:t>
            </a:r>
            <a:r>
              <a:t> triple del </a:t>
            </a:r>
            <a:r>
              <a:rPr lang="en-US" err="1"/>
              <a:t>salario</a:t>
            </a:r>
            <a:r>
              <a:t> </a:t>
            </a:r>
            <a:r>
              <a:rPr lang="en-US" err="1"/>
              <a:t>mínimo</a:t>
            </a:r>
            <a:r>
              <a:t>. Fue la </a:t>
            </a:r>
            <a:r>
              <a:rPr lang="en-US" err="1"/>
              <a:t>primera</a:t>
            </a:r>
            <a:r>
              <a:t> </a:t>
            </a:r>
            <a:r>
              <a:rPr lang="en-US" err="1"/>
              <a:t>vez</a:t>
            </a:r>
            <a:r>
              <a:t> que vi a mi </a:t>
            </a:r>
            <a:r>
              <a:rPr lang="en-US" err="1"/>
              <a:t>familia</a:t>
            </a:r>
            <a:r>
              <a:t> comer lo </a:t>
            </a:r>
            <a:r>
              <a:rPr lang="en-US" err="1"/>
              <a:t>suficiente</a:t>
            </a:r>
            <a:r>
              <a:t> y </a:t>
            </a:r>
            <a:r>
              <a:rPr lang="en-US" err="1"/>
              <a:t>preocuparse</a:t>
            </a:r>
            <a:r>
              <a:t> </a:t>
            </a:r>
            <a:r>
              <a:rPr lang="en-US" err="1"/>
              <a:t>menos</a:t>
            </a:r>
            <a:r>
              <a:t> </a:t>
            </a:r>
            <a:r>
              <a:rPr lang="en-US" err="1"/>
              <a:t>por</a:t>
            </a:r>
            <a:r>
              <a:t> </a:t>
            </a:r>
            <a:r>
              <a:rPr lang="en-US" err="1"/>
              <a:t>el</a:t>
            </a:r>
            <a:r>
              <a:t> </a:t>
            </a:r>
            <a:r>
              <a:rPr lang="en-US" err="1"/>
              <a:t>mañana</a:t>
            </a:r>
            <a:r>
              <a:t>. </a:t>
            </a:r>
            <a:r>
              <a:rPr lang="en-US" err="1"/>
              <a:t>Ahora</a:t>
            </a:r>
            <a:r>
              <a:t> </a:t>
            </a:r>
            <a:r>
              <a:rPr lang="en-US" err="1"/>
              <a:t>estoy</a:t>
            </a:r>
            <a:r>
              <a:t> a solo un par de meses de </a:t>
            </a:r>
            <a:r>
              <a:rPr lang="en-US" err="1"/>
              <a:t>terminar</a:t>
            </a:r>
            <a:r>
              <a:t> mi primer </a:t>
            </a:r>
            <a:r>
              <a:rPr lang="en-US" err="1"/>
              <a:t>certificado</a:t>
            </a:r>
            <a:r>
              <a:t> </a:t>
            </a:r>
            <a:r>
              <a:rPr lang="en-US" err="1"/>
              <a:t>como</a:t>
            </a:r>
            <a:r>
              <a:t> </a:t>
            </a:r>
            <a:r>
              <a:rPr lang="en-US" err="1"/>
              <a:t>ingeniero</a:t>
            </a:r>
            <a:r>
              <a:t> de </a:t>
            </a:r>
            <a:r>
              <a:rPr lang="en-US" err="1"/>
              <a:t>soporte</a:t>
            </a:r>
            <a:r>
              <a:t> </a:t>
            </a:r>
            <a:r>
              <a:rPr lang="en-US" err="1"/>
              <a:t>técnico</a:t>
            </a:r>
            <a:r>
              <a:rPr lang="en-US"/>
              <a:t>".</a:t>
            </a:r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4374B5-F2B9-7340-A780-6E9CB520CA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1468" y="4705638"/>
            <a:ext cx="6207125" cy="962488"/>
          </a:xfrm>
        </p:spPr>
        <p:txBody>
          <a:bodyPr>
            <a:normAutofit/>
          </a:bodyPr>
          <a:lstStyle/>
          <a:p>
            <a:pPr marL="4445">
              <a:defRPr sz="2000">
                <a:latin typeface="Calibri Light"/>
                <a:ea typeface="Open Sans"/>
                <a:cs typeface="Open Sans"/>
              </a:defRPr>
            </a:pPr>
            <a:r>
              <a:t>JONATHAN ORDILLAS</a:t>
            </a:r>
          </a:p>
          <a:p>
            <a:pPr marL="4445">
              <a:defRPr i="1">
                <a:latin typeface="Calibri Light"/>
                <a:ea typeface="Open Sans"/>
                <a:cs typeface="Open Sans"/>
              </a:defRPr>
            </a:pPr>
            <a:r>
              <a:t>Filipinas</a:t>
            </a:r>
            <a:endParaRPr lang="en-US">
              <a:latin typeface="Calibri Light"/>
              <a:ea typeface="Open Sans"/>
              <a:cs typeface="Open San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1A5F53-F75F-3A4C-86EF-8F17F3995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893C2FB-EF86-FD49-89EB-659751C15892}" type="slidenum">
              <a:rPr lang="en-US" smtClean="0"/>
              <a:t>11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12EB6CD-C714-4922-1388-35729F097065}"/>
              </a:ext>
            </a:extLst>
          </p:cNvPr>
          <p:cNvSpPr/>
          <p:nvPr/>
        </p:nvSpPr>
        <p:spPr>
          <a:xfrm>
            <a:off x="10479505" y="0"/>
            <a:ext cx="1712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9" name="Picture 8" descr="Text  Description automatically generated">
            <a:extLst>
              <a:ext uri="{FF2B5EF4-FFF2-40B4-BE49-F238E27FC236}">
                <a16:creationId xmlns:a16="http://schemas.microsoft.com/office/drawing/2014/main" id="{61B33F49-54C8-BF3B-A3A1-D1614056B33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849" y="298189"/>
            <a:ext cx="1313807" cy="826106"/>
          </a:xfrm>
          <a:prstGeom prst="rect">
            <a:avLst/>
          </a:prstGeom>
        </p:spPr>
      </p:pic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6C3C29F9-ED91-494B-33B7-99062A0E7D15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59744" y="1364555"/>
            <a:ext cx="2916076" cy="4070960"/>
          </a:xfrm>
        </p:spPr>
      </p:pic>
    </p:spTree>
    <p:extLst>
      <p:ext uri="{BB962C8B-B14F-4D97-AF65-F5344CB8AC3E}">
        <p14:creationId xmlns:p14="http://schemas.microsoft.com/office/powerpoint/2010/main" val="386647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57A1E5-BB56-3949-BF3A-C64C36CAB6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19685" y="1710940"/>
            <a:ext cx="5659213" cy="3218183"/>
          </a:xfrm>
        </p:spPr>
        <p:txBody>
          <a:bodyPr>
            <a:normAutofit/>
          </a:bodyPr>
          <a:lstStyle/>
          <a:p>
            <a:pPr marL="172720" indent="-172720">
              <a:defRPr>
                <a:latin typeface="Calibri Light"/>
                <a:ea typeface="Open Sans"/>
                <a:cs typeface="Open Sans"/>
              </a:defRPr>
            </a:pPr>
            <a:r>
              <a:t>"</a:t>
            </a:r>
            <a:r>
              <a:rPr err="1"/>
              <a:t>Pensé</a:t>
            </a:r>
            <a:r>
              <a:t> que </a:t>
            </a:r>
            <a:r>
              <a:rPr err="1"/>
              <a:t>nunca</a:t>
            </a:r>
            <a:r>
              <a:t> </a:t>
            </a:r>
            <a:r>
              <a:rPr err="1"/>
              <a:t>terminaría</a:t>
            </a:r>
            <a:r>
              <a:t> mi </a:t>
            </a:r>
            <a:r>
              <a:rPr err="1"/>
              <a:t>carrera</a:t>
            </a:r>
            <a:r>
              <a:t>, y es</a:t>
            </a:r>
            <a:r>
              <a:rPr lang="en-US"/>
              <a:t> </a:t>
            </a:r>
            <a:r>
              <a:rPr err="1"/>
              <a:t>una</a:t>
            </a:r>
            <a:r>
              <a:t> </a:t>
            </a:r>
            <a:r>
              <a:rPr err="1"/>
              <a:t>bendición</a:t>
            </a:r>
            <a:r>
              <a:t> que las </a:t>
            </a:r>
            <a:r>
              <a:rPr err="1"/>
              <a:t>habilidades</a:t>
            </a:r>
            <a:r>
              <a:t> que </a:t>
            </a:r>
            <a:r>
              <a:rPr err="1"/>
              <a:t>adquirí</a:t>
            </a:r>
            <a:r>
              <a:t> para </a:t>
            </a:r>
            <a:r>
              <a:rPr err="1"/>
              <a:t>obtener</a:t>
            </a:r>
            <a:r>
              <a:t> </a:t>
            </a:r>
            <a:r>
              <a:rPr err="1"/>
              <a:t>certificados</a:t>
            </a:r>
            <a:r>
              <a:t> me </a:t>
            </a:r>
            <a:r>
              <a:rPr err="1"/>
              <a:t>condujeran</a:t>
            </a:r>
            <a:r>
              <a:t> a </a:t>
            </a:r>
            <a:r>
              <a:rPr err="1"/>
              <a:t>una</a:t>
            </a:r>
            <a:r>
              <a:t> </a:t>
            </a:r>
            <a:r>
              <a:rPr err="1"/>
              <a:t>carrera</a:t>
            </a:r>
            <a:r>
              <a:t>"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4374B5-F2B9-7340-A780-6E9CB520CA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87787" y="4333880"/>
            <a:ext cx="6207125" cy="962488"/>
          </a:xfrm>
        </p:spPr>
        <p:txBody>
          <a:bodyPr>
            <a:normAutofit/>
          </a:bodyPr>
          <a:lstStyle/>
          <a:p>
            <a:pPr marL="4445">
              <a:defRPr sz="2000">
                <a:latin typeface="Calibri Light"/>
                <a:ea typeface="Open Sans"/>
                <a:cs typeface="Open Sans"/>
              </a:defRPr>
            </a:pPr>
            <a:r>
              <a:t>CHRIS BLOUNT</a:t>
            </a:r>
          </a:p>
          <a:p>
            <a:pPr marL="4445">
              <a:defRPr i="1">
                <a:latin typeface="Calibri Light"/>
                <a:ea typeface="Open Sans"/>
                <a:cs typeface="Open Sans"/>
              </a:defRPr>
            </a:pPr>
            <a:r>
              <a:t>ESTADOS UNIDOS</a:t>
            </a:r>
            <a:endParaRPr lang="en-US">
              <a:latin typeface="Calibri Light"/>
              <a:ea typeface="Open Sans"/>
              <a:cs typeface="Open San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1A5F53-F75F-3A4C-86EF-8F17F3995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893C2FB-EF86-FD49-89EB-659751C15892}" type="slidenum">
              <a:rPr lang="en-US" smtClean="0"/>
              <a:t>12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12EB6CD-C714-4922-1388-35729F097065}"/>
              </a:ext>
            </a:extLst>
          </p:cNvPr>
          <p:cNvSpPr/>
          <p:nvPr/>
        </p:nvSpPr>
        <p:spPr>
          <a:xfrm>
            <a:off x="10479505" y="0"/>
            <a:ext cx="1712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9" name="Picture 8" descr="Text  Description automatically generated">
            <a:extLst>
              <a:ext uri="{FF2B5EF4-FFF2-40B4-BE49-F238E27FC236}">
                <a16:creationId xmlns:a16="http://schemas.microsoft.com/office/drawing/2014/main" id="{61B33F49-54C8-BF3B-A3A1-D1614056B33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849" y="298189"/>
            <a:ext cx="1313807" cy="826106"/>
          </a:xfrm>
          <a:prstGeom prst="rect">
            <a:avLst/>
          </a:prstGeom>
        </p:spPr>
      </p:pic>
      <p:pic>
        <p:nvPicPr>
          <p:cNvPr id="2" name="Picture 5">
            <a:extLst>
              <a:ext uri="{FF2B5EF4-FFF2-40B4-BE49-F238E27FC236}">
                <a16:creationId xmlns:a16="http://schemas.microsoft.com/office/drawing/2014/main" id="{25F5284C-93E2-BAFD-BD8A-95BC2F6178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8957" y="1347217"/>
            <a:ext cx="2822713" cy="408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996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C7C379-95DF-CF47-A718-FA0F19C84F9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96528" y="6355080"/>
            <a:ext cx="2743200" cy="365125"/>
          </a:xfrm>
        </p:spPr>
        <p:txBody>
          <a:bodyPr/>
          <a:lstStyle/>
          <a:p>
            <a:fld id="{8893C2FB-EF86-FD49-89EB-659751C15892}" type="slidenum">
              <a:rPr lang="en-US" smtClean="0"/>
              <a:t>13</a:t>
            </a:fld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D9F19DE-3952-F044-B320-A0E2F533E279}"/>
              </a:ext>
            </a:extLst>
          </p:cNvPr>
          <p:cNvSpPr txBox="1"/>
          <p:nvPr/>
        </p:nvSpPr>
        <p:spPr>
          <a:xfrm>
            <a:off x="785369" y="2774426"/>
            <a:ext cx="32723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400" b="1">
                <a:solidFill>
                  <a:schemeClr val="bg1"/>
                </a:solidFill>
              </a:defRPr>
            </a:pPr>
            <a:r>
              <a:t>2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55E97C9-33F8-118B-FDD6-2BCBC8DD2D15}"/>
              </a:ext>
            </a:extLst>
          </p:cNvPr>
          <p:cNvSpPr/>
          <p:nvPr/>
        </p:nvSpPr>
        <p:spPr>
          <a:xfrm>
            <a:off x="10479505" y="0"/>
            <a:ext cx="1712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7" name="Picture 6" descr="Text  Description automatically generated">
            <a:extLst>
              <a:ext uri="{FF2B5EF4-FFF2-40B4-BE49-F238E27FC236}">
                <a16:creationId xmlns:a16="http://schemas.microsoft.com/office/drawing/2014/main" id="{CDCE4342-949B-F53F-0063-5550991BF1E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849" y="298189"/>
            <a:ext cx="1313807" cy="826106"/>
          </a:xfrm>
          <a:prstGeom prst="rect">
            <a:avLst/>
          </a:prstGeom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BB15C4F1-E9E5-652F-3489-C6E81DA9DC88}"/>
              </a:ext>
            </a:extLst>
          </p:cNvPr>
          <p:cNvSpPr txBox="1">
            <a:spLocks/>
          </p:cNvSpPr>
          <p:nvPr/>
        </p:nvSpPr>
        <p:spPr>
          <a:xfrm>
            <a:off x="785369" y="1422484"/>
            <a:ext cx="6755593" cy="602826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 sz="4400">
                <a:latin typeface="+mj-lt"/>
              </a:defRPr>
            </a:pPr>
            <a:r>
              <a:t>Opción de bajo costo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7C01B92-77F4-0A39-C1D5-76BF30E3689A}"/>
              </a:ext>
            </a:extLst>
          </p:cNvPr>
          <p:cNvSpPr/>
          <p:nvPr/>
        </p:nvSpPr>
        <p:spPr>
          <a:xfrm>
            <a:off x="785369" y="2323499"/>
            <a:ext cx="5870841" cy="15633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10000"/>
              </a:lnSpc>
              <a:defRPr sz="2200"/>
            </a:pPr>
            <a:r>
              <a:t>La </a:t>
            </a:r>
            <a:r>
              <a:rPr err="1"/>
              <a:t>matrícula</a:t>
            </a:r>
            <a:r>
              <a:rPr lang="en-US"/>
              <a:t> de </a:t>
            </a:r>
            <a:r>
              <a:t>BYU-Pathway Worldwide se reduce </a:t>
            </a:r>
            <a:r>
              <a:rPr err="1"/>
              <a:t>significativamente</a:t>
            </a:r>
            <a:r>
              <a:t>. </a:t>
            </a:r>
            <a:r>
              <a:rPr err="1"/>
              <a:t>Varía</a:t>
            </a:r>
            <a:r>
              <a:t> </a:t>
            </a:r>
            <a:r>
              <a:rPr err="1"/>
              <a:t>según</a:t>
            </a:r>
            <a:r>
              <a:t> </a:t>
            </a:r>
            <a:r>
              <a:rPr err="1"/>
              <a:t>el</a:t>
            </a:r>
            <a:r>
              <a:t> </a:t>
            </a:r>
            <a:r>
              <a:rPr err="1"/>
              <a:t>país</a:t>
            </a:r>
            <a:r>
              <a:t> y se </a:t>
            </a:r>
            <a:r>
              <a:rPr err="1"/>
              <a:t>establece</a:t>
            </a:r>
            <a:r>
              <a:t> para que </a:t>
            </a:r>
            <a:r>
              <a:rPr err="1"/>
              <a:t>coincida</a:t>
            </a:r>
            <a:r>
              <a:t> con las </a:t>
            </a:r>
            <a:r>
              <a:rPr err="1"/>
              <a:t>circunstancias</a:t>
            </a:r>
            <a:r>
              <a:t> </a:t>
            </a:r>
            <a:r>
              <a:rPr err="1"/>
              <a:t>económicas</a:t>
            </a:r>
            <a:r>
              <a:t> de </a:t>
            </a:r>
            <a:r>
              <a:rPr err="1"/>
              <a:t>los</a:t>
            </a:r>
            <a:r>
              <a:t> </a:t>
            </a:r>
            <a:r>
              <a:rPr err="1"/>
              <a:t>residentes</a:t>
            </a:r>
            <a:r>
              <a:t> locales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E07B411-CDC2-D3FF-7B15-5B15B41B0571}"/>
              </a:ext>
            </a:extLst>
          </p:cNvPr>
          <p:cNvSpPr/>
          <p:nvPr/>
        </p:nvSpPr>
        <p:spPr>
          <a:xfrm>
            <a:off x="798069" y="4144643"/>
            <a:ext cx="6218920" cy="10165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Aft>
                <a:spcPts val="300"/>
              </a:spcAft>
              <a:defRPr sz="2800" b="1">
                <a:solidFill>
                  <a:srgbClr val="3A929D"/>
                </a:solidFill>
              </a:defRPr>
            </a:pPr>
            <a:r>
              <a:t>¡Cada estudiante es elegible para un descuento de matrícula garantizada del 10, 25 o 50%!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E218C42-2E0B-B361-A1B2-1B67D78533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58751" y="2475325"/>
            <a:ext cx="2722728" cy="272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974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>
            <a:extLst>
              <a:ext uri="{FF2B5EF4-FFF2-40B4-BE49-F238E27FC236}">
                <a16:creationId xmlns:a16="http://schemas.microsoft.com/office/drawing/2014/main" id="{BAAC49E4-DAA1-2330-407C-E3EDD89D35F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280" r="-537" b="23622"/>
          <a:stretch/>
        </p:blipFill>
        <p:spPr>
          <a:xfrm>
            <a:off x="-231" y="1385"/>
            <a:ext cx="12281451" cy="5920286"/>
          </a:xfrm>
          <a:prstGeom prst="rect">
            <a:avLst/>
          </a:prstGeom>
        </p:spPr>
      </p:pic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EA71D5DF-E7DC-3741-8D95-947602EF5B8B}"/>
              </a:ext>
            </a:extLst>
          </p:cNvPr>
          <p:cNvSpPr txBox="1">
            <a:spLocks/>
          </p:cNvSpPr>
          <p:nvPr/>
        </p:nvSpPr>
        <p:spPr>
          <a:xfrm>
            <a:off x="879652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93C2FB-EF86-FD49-89EB-659751C15892}" type="slidenum">
              <a:rPr lang="en-US" dirty="0" smtClean="0"/>
              <a:t>14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481D4E-3A9E-6581-F474-8B4DC57625E6}"/>
              </a:ext>
            </a:extLst>
          </p:cNvPr>
          <p:cNvSpPr/>
          <p:nvPr/>
        </p:nvSpPr>
        <p:spPr>
          <a:xfrm>
            <a:off x="-20601" y="5772902"/>
            <a:ext cx="12290555" cy="1119572"/>
          </a:xfrm>
          <a:prstGeom prst="rect">
            <a:avLst/>
          </a:prstGeom>
          <a:solidFill>
            <a:srgbClr val="454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3DB7BEA-64A9-8BC2-B0AF-DFD61C001233}"/>
              </a:ext>
            </a:extLst>
          </p:cNvPr>
          <p:cNvSpPr txBox="1">
            <a:spLocks/>
          </p:cNvSpPr>
          <p:nvPr/>
        </p:nvSpPr>
        <p:spPr>
          <a:xfrm>
            <a:off x="1807995" y="5982009"/>
            <a:ext cx="9844087" cy="911171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Open Sans" pitchFamily="2" charset="0"/>
                <a:cs typeface="Open Sans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Open Sans" pitchFamily="2" charset="0"/>
                <a:cs typeface="Open Sans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Open Sans" pitchFamily="2" charset="0"/>
                <a:cs typeface="Open Sans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Open Sans" pitchFamily="2" charset="0"/>
                <a:cs typeface="Open Sans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Open Sans" pitchFamily="2" charset="0"/>
                <a:cs typeface="Open Sans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 sz="4800">
                <a:solidFill>
                  <a:schemeClr val="bg1"/>
                </a:solidFill>
                <a:latin typeface="Roboto Slab Light"/>
                <a:ea typeface="Roboto Slab Light"/>
                <a:cs typeface="Open Sans"/>
              </a:defRPr>
            </a:pPr>
            <a:r>
              <a:t>Ahorre tiempo y dinero</a:t>
            </a:r>
            <a:endParaRPr lang="en-US" sz="4800">
              <a:solidFill>
                <a:schemeClr val="bg1"/>
              </a:solidFill>
              <a:latin typeface="Roboto Slab Ligh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7B22FE7-E9AD-1295-89CE-0E95D93FF3AF}"/>
              </a:ext>
            </a:extLst>
          </p:cNvPr>
          <p:cNvSpPr/>
          <p:nvPr/>
        </p:nvSpPr>
        <p:spPr>
          <a:xfrm>
            <a:off x="952665" y="5249262"/>
            <a:ext cx="1598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8" name="Graphic 8">
            <a:extLst>
              <a:ext uri="{FF2B5EF4-FFF2-40B4-BE49-F238E27FC236}">
                <a16:creationId xmlns:a16="http://schemas.microsoft.com/office/drawing/2014/main" id="{2E9F2A2E-C102-077C-0022-A9BC926B21A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34760" y="5472600"/>
            <a:ext cx="1000800" cy="10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375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C7C379-95DF-CF47-A718-FA0F19C84F9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96528" y="6355080"/>
            <a:ext cx="2743200" cy="365125"/>
          </a:xfrm>
        </p:spPr>
        <p:txBody>
          <a:bodyPr/>
          <a:lstStyle/>
          <a:p>
            <a:fld id="{8893C2FB-EF86-FD49-89EB-659751C15892}" type="slidenum">
              <a:rPr lang="en-US" smtClean="0"/>
              <a:t>15</a:t>
            </a:fld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D9F19DE-3952-F044-B320-A0E2F533E279}"/>
              </a:ext>
            </a:extLst>
          </p:cNvPr>
          <p:cNvSpPr txBox="1"/>
          <p:nvPr/>
        </p:nvSpPr>
        <p:spPr>
          <a:xfrm>
            <a:off x="785369" y="2774426"/>
            <a:ext cx="32723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400" b="1">
                <a:solidFill>
                  <a:schemeClr val="bg1"/>
                </a:solidFill>
              </a:defRPr>
            </a:pPr>
            <a:r>
              <a:t>2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55E97C9-33F8-118B-FDD6-2BCBC8DD2D15}"/>
              </a:ext>
            </a:extLst>
          </p:cNvPr>
          <p:cNvSpPr/>
          <p:nvPr/>
        </p:nvSpPr>
        <p:spPr>
          <a:xfrm>
            <a:off x="10479505" y="0"/>
            <a:ext cx="1712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7" name="Picture 6" descr="Text  Description automatically generated">
            <a:extLst>
              <a:ext uri="{FF2B5EF4-FFF2-40B4-BE49-F238E27FC236}">
                <a16:creationId xmlns:a16="http://schemas.microsoft.com/office/drawing/2014/main" id="{CDCE4342-949B-F53F-0063-5550991BF1E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849" y="298189"/>
            <a:ext cx="1313807" cy="826106"/>
          </a:xfrm>
          <a:prstGeom prst="rect">
            <a:avLst/>
          </a:prstGeom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BB15C4F1-E9E5-652F-3489-C6E81DA9DC88}"/>
              </a:ext>
            </a:extLst>
          </p:cNvPr>
          <p:cNvSpPr txBox="1">
            <a:spLocks/>
          </p:cNvSpPr>
          <p:nvPr/>
        </p:nvSpPr>
        <p:spPr>
          <a:xfrm>
            <a:off x="785369" y="1422484"/>
            <a:ext cx="6755593" cy="602826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 sz="4400">
                <a:latin typeface="+mj-lt"/>
              </a:defRPr>
            </a:pPr>
            <a:r>
              <a:t>Opción de bajo costo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7C01B92-77F4-0A39-C1D5-76BF30E3689A}"/>
              </a:ext>
            </a:extLst>
          </p:cNvPr>
          <p:cNvSpPr/>
          <p:nvPr/>
        </p:nvSpPr>
        <p:spPr>
          <a:xfrm>
            <a:off x="785369" y="2323499"/>
            <a:ext cx="5870841" cy="15633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10000"/>
              </a:lnSpc>
              <a:defRPr sz="2200"/>
            </a:pPr>
            <a:r>
              <a:t>La </a:t>
            </a:r>
            <a:r>
              <a:rPr err="1"/>
              <a:t>matrícula</a:t>
            </a:r>
            <a:r>
              <a:rPr lang="en-US"/>
              <a:t> de BYU-Pathway</a:t>
            </a:r>
            <a:r>
              <a:t> Worldwide se reduce </a:t>
            </a:r>
            <a:r>
              <a:rPr err="1"/>
              <a:t>significativamente</a:t>
            </a:r>
            <a:r>
              <a:t>. </a:t>
            </a:r>
            <a:r>
              <a:rPr err="1"/>
              <a:t>Varía</a:t>
            </a:r>
            <a:r>
              <a:t> </a:t>
            </a:r>
            <a:r>
              <a:rPr err="1"/>
              <a:t>según</a:t>
            </a:r>
            <a:r>
              <a:t> </a:t>
            </a:r>
            <a:r>
              <a:rPr err="1"/>
              <a:t>el</a:t>
            </a:r>
            <a:r>
              <a:t> </a:t>
            </a:r>
            <a:r>
              <a:rPr err="1"/>
              <a:t>país</a:t>
            </a:r>
            <a:r>
              <a:t> y se </a:t>
            </a:r>
            <a:r>
              <a:rPr err="1"/>
              <a:t>establece</a:t>
            </a:r>
            <a:r>
              <a:t> para que </a:t>
            </a:r>
            <a:r>
              <a:rPr err="1"/>
              <a:t>coincida</a:t>
            </a:r>
            <a:r>
              <a:t> con las </a:t>
            </a:r>
            <a:r>
              <a:rPr err="1"/>
              <a:t>circunstancias</a:t>
            </a:r>
            <a:r>
              <a:t> </a:t>
            </a:r>
            <a:r>
              <a:rPr err="1"/>
              <a:t>económicas</a:t>
            </a:r>
            <a:r>
              <a:t> de </a:t>
            </a:r>
            <a:r>
              <a:rPr err="1"/>
              <a:t>los</a:t>
            </a:r>
            <a:r>
              <a:t> </a:t>
            </a:r>
            <a:r>
              <a:rPr err="1"/>
              <a:t>residentes</a:t>
            </a:r>
            <a:r>
              <a:t> locales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E07B411-CDC2-D3FF-7B15-5B15B41B0571}"/>
              </a:ext>
            </a:extLst>
          </p:cNvPr>
          <p:cNvSpPr/>
          <p:nvPr/>
        </p:nvSpPr>
        <p:spPr>
          <a:xfrm>
            <a:off x="798069" y="4144643"/>
            <a:ext cx="6218920" cy="10165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Aft>
                <a:spcPts val="300"/>
              </a:spcAft>
              <a:defRPr sz="2800" b="1">
                <a:solidFill>
                  <a:srgbClr val="3A929D"/>
                </a:solidFill>
              </a:defRPr>
            </a:pPr>
            <a:r>
              <a:t>¡Cada estudiante es elegible para un descuento de matrícula garantizada del 10, 25 o 50%!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D6886AA-EEE7-9E02-E4DF-0DAF0C60BD8A}"/>
              </a:ext>
            </a:extLst>
          </p:cNvPr>
          <p:cNvSpPr/>
          <p:nvPr/>
        </p:nvSpPr>
        <p:spPr>
          <a:xfrm>
            <a:off x="8695283" y="2126070"/>
            <a:ext cx="1965278" cy="1965278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>
              <a:defRPr sz="600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defRPr>
            </a:pPr>
            <a:r>
              <a:rPr sz="5400"/>
              <a:t>$ 81</a:t>
            </a:r>
            <a:endParaRPr lang="en-US" sz="5400">
              <a:solidFill>
                <a:schemeClr val="tx2">
                  <a:lumMod val="90000"/>
                  <a:lumOff val="10000"/>
                </a:schemeClr>
              </a:solidFill>
              <a:latin typeface="+mj-lt"/>
              <a:cs typeface="Calibri Light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5841166-D978-FF83-76B3-A422F435D7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85391" y="2471863"/>
            <a:ext cx="2722728" cy="272272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864B0E4-E93F-F74B-7825-C74E2D53DD66}"/>
              </a:ext>
            </a:extLst>
          </p:cNvPr>
          <p:cNvSpPr txBox="1"/>
          <p:nvPr/>
        </p:nvSpPr>
        <p:spPr>
          <a:xfrm>
            <a:off x="9179559" y="4146749"/>
            <a:ext cx="2969852" cy="830997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pPr>
              <a:defRPr sz="2400"/>
            </a:pPr>
            <a:r>
              <a:rPr lang="en-US"/>
              <a:t>Por</a:t>
            </a:r>
            <a:r>
              <a:t> </a:t>
            </a:r>
            <a:r>
              <a:rPr err="1"/>
              <a:t>crédito</a:t>
            </a:r>
            <a:r>
              <a:t> </a:t>
            </a:r>
            <a:r>
              <a:rPr err="1"/>
              <a:t>en</a:t>
            </a:r>
            <a:r>
              <a:t> </a:t>
            </a:r>
            <a:r>
              <a:rPr err="1"/>
              <a:t>los</a:t>
            </a:r>
            <a:endParaRPr lang="en-US" err="1">
              <a:cs typeface="Calibri"/>
            </a:endParaRPr>
          </a:p>
          <a:p>
            <a:pPr>
              <a:defRPr sz="2400"/>
            </a:pPr>
            <a:r>
              <a:rPr err="1"/>
              <a:t>Estados</a:t>
            </a:r>
            <a:r>
              <a:t> Unidos</a:t>
            </a:r>
            <a:r>
              <a:rPr baseline="30000"/>
              <a:t>*</a:t>
            </a:r>
            <a:r>
              <a:t> (USD)</a:t>
            </a:r>
            <a:endParaRPr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A83D00C-10EA-BDD4-8B23-F2598E0AD45B}"/>
              </a:ext>
            </a:extLst>
          </p:cNvPr>
          <p:cNvSpPr txBox="1"/>
          <p:nvPr/>
        </p:nvSpPr>
        <p:spPr>
          <a:xfrm>
            <a:off x="798069" y="6355080"/>
            <a:ext cx="6968574" cy="307777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pPr>
              <a:defRPr sz="1400"/>
            </a:pPr>
            <a:r>
              <a:t>* Los estudiantes que comienzan por la vía avanzada (sin pasar por PathwayConnect) pagan una tarifa más alta.</a:t>
            </a:r>
            <a:endParaRPr lang="en-US" sz="140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56659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C7C379-95DF-CF47-A718-FA0F19C84F9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96528" y="6355080"/>
            <a:ext cx="2743200" cy="365125"/>
          </a:xfrm>
        </p:spPr>
        <p:txBody>
          <a:bodyPr/>
          <a:lstStyle/>
          <a:p>
            <a:fld id="{8893C2FB-EF86-FD49-89EB-659751C15892}" type="slidenum">
              <a:rPr lang="en-US" smtClean="0"/>
              <a:t>16</a:t>
            </a:fld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D9F19DE-3952-F044-B320-A0E2F533E279}"/>
              </a:ext>
            </a:extLst>
          </p:cNvPr>
          <p:cNvSpPr txBox="1"/>
          <p:nvPr/>
        </p:nvSpPr>
        <p:spPr>
          <a:xfrm>
            <a:off x="785369" y="2774426"/>
            <a:ext cx="32723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400" b="1">
                <a:solidFill>
                  <a:schemeClr val="bg1"/>
                </a:solidFill>
              </a:defRPr>
            </a:pPr>
            <a:r>
              <a:t>2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55E97C9-33F8-118B-FDD6-2BCBC8DD2D15}"/>
              </a:ext>
            </a:extLst>
          </p:cNvPr>
          <p:cNvSpPr/>
          <p:nvPr/>
        </p:nvSpPr>
        <p:spPr>
          <a:xfrm>
            <a:off x="10479505" y="0"/>
            <a:ext cx="1712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7" name="Picture 6" descr="Text  Description automatically generated">
            <a:extLst>
              <a:ext uri="{FF2B5EF4-FFF2-40B4-BE49-F238E27FC236}">
                <a16:creationId xmlns:a16="http://schemas.microsoft.com/office/drawing/2014/main" id="{CDCE4342-949B-F53F-0063-5550991BF1E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849" y="298189"/>
            <a:ext cx="1313807" cy="826106"/>
          </a:xfrm>
          <a:prstGeom prst="rect">
            <a:avLst/>
          </a:prstGeom>
        </p:spPr>
      </p:pic>
      <p:pic>
        <p:nvPicPr>
          <p:cNvPr id="10" name="Picture 9" descr="A person in a graduation gown  Description automatically generated with medium confidence">
            <a:extLst>
              <a:ext uri="{FF2B5EF4-FFF2-40B4-BE49-F238E27FC236}">
                <a16:creationId xmlns:a16="http://schemas.microsoft.com/office/drawing/2014/main" id="{FFB4513E-47FF-EE84-011D-CB0CD0CCC45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2146AE7-57A9-D950-371D-4985F55F6D87}"/>
              </a:ext>
            </a:extLst>
          </p:cNvPr>
          <p:cNvSpPr/>
          <p:nvPr/>
        </p:nvSpPr>
        <p:spPr>
          <a:xfrm>
            <a:off x="0" y="0"/>
            <a:ext cx="7192370" cy="6858000"/>
          </a:xfrm>
          <a:prstGeom prst="rect">
            <a:avLst/>
          </a:prstGeom>
          <a:gradFill flip="none" rotWithShape="1">
            <a:gsLst>
              <a:gs pos="53000">
                <a:schemeClr val="accent1">
                  <a:lumMod val="5000"/>
                  <a:lumOff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B8F63A-FFC3-6EBE-7F2A-D6FB52736DF1}"/>
              </a:ext>
            </a:extLst>
          </p:cNvPr>
          <p:cNvSpPr txBox="1">
            <a:spLocks/>
          </p:cNvSpPr>
          <p:nvPr/>
        </p:nvSpPr>
        <p:spPr>
          <a:xfrm>
            <a:off x="847660" y="1315711"/>
            <a:ext cx="5390931" cy="616404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 sz="4400">
                <a:latin typeface="+mj-lt"/>
              </a:defRPr>
            </a:pPr>
            <a:r>
              <a:t>Termine más rápido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2C6AD87-5175-74D0-47FC-6B7724DB7447}"/>
              </a:ext>
            </a:extLst>
          </p:cNvPr>
          <p:cNvSpPr/>
          <p:nvPr/>
        </p:nvSpPr>
        <p:spPr>
          <a:xfrm>
            <a:off x="873788" y="2212885"/>
            <a:ext cx="4624804" cy="119096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10000"/>
              </a:lnSpc>
              <a:defRPr sz="2200"/>
            </a:pPr>
            <a:r>
              <a:t>Los estudiantes comienzan la primera clase de su certificado a solo </a:t>
            </a:r>
            <a:r>
              <a:rPr b="1"/>
              <a:t>14 semanas </a:t>
            </a:r>
            <a:r>
              <a:t>de haber empezado su travesía educativa.</a:t>
            </a:r>
          </a:p>
        </p:txBody>
      </p:sp>
    </p:spTree>
    <p:extLst>
      <p:ext uri="{BB962C8B-B14F-4D97-AF65-F5344CB8AC3E}">
        <p14:creationId xmlns:p14="http://schemas.microsoft.com/office/powerpoint/2010/main" val="954176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C7C379-95DF-CF47-A718-FA0F19C84F9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96528" y="6355080"/>
            <a:ext cx="2743200" cy="365125"/>
          </a:xfrm>
        </p:spPr>
        <p:txBody>
          <a:bodyPr/>
          <a:lstStyle/>
          <a:p>
            <a:fld id="{8893C2FB-EF86-FD49-89EB-659751C15892}" type="slidenum">
              <a:rPr lang="en-US" smtClean="0"/>
              <a:t>17</a:t>
            </a:fld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D9F19DE-3952-F044-B320-A0E2F533E279}"/>
              </a:ext>
            </a:extLst>
          </p:cNvPr>
          <p:cNvSpPr txBox="1"/>
          <p:nvPr/>
        </p:nvSpPr>
        <p:spPr>
          <a:xfrm>
            <a:off x="785369" y="2774426"/>
            <a:ext cx="32723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400" b="1">
                <a:solidFill>
                  <a:schemeClr val="bg1"/>
                </a:solidFill>
              </a:defRPr>
            </a:pPr>
            <a:r>
              <a:t>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2544AEE-9FDC-214D-8A9F-476D5C29C398}"/>
              </a:ext>
            </a:extLst>
          </p:cNvPr>
          <p:cNvSpPr/>
          <p:nvPr/>
        </p:nvSpPr>
        <p:spPr>
          <a:xfrm>
            <a:off x="-1" y="372790"/>
            <a:ext cx="5749447" cy="947058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E1815725-512E-9048-88FA-51D8CFFF78C2}"/>
              </a:ext>
            </a:extLst>
          </p:cNvPr>
          <p:cNvSpPr txBox="1">
            <a:spLocks/>
          </p:cNvSpPr>
          <p:nvPr/>
        </p:nvSpPr>
        <p:spPr>
          <a:xfrm>
            <a:off x="633912" y="645557"/>
            <a:ext cx="7342776" cy="616404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 sz="2800" b="1" spc="90">
                <a:solidFill>
                  <a:schemeClr val="tx2">
                    <a:lumMod val="90000"/>
                    <a:lumOff val="10000"/>
                  </a:schemeClr>
                </a:solidFill>
              </a:defRPr>
            </a:pPr>
            <a:r>
              <a:t>TRANSFERENCIA DE CRÉDITOS</a:t>
            </a:r>
            <a:endParaRPr lang="en-US" sz="2400" b="1" spc="9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29326BC-4197-FE42-B254-B8E44181828A}"/>
              </a:ext>
            </a:extLst>
          </p:cNvPr>
          <p:cNvSpPr/>
          <p:nvPr/>
        </p:nvSpPr>
        <p:spPr>
          <a:xfrm>
            <a:off x="633913" y="2777079"/>
            <a:ext cx="5462088" cy="156966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defRPr sz="3200">
                <a:latin typeface="Calibri"/>
                <a:ea typeface="Calibri"/>
                <a:cs typeface="Calibri"/>
              </a:defRPr>
            </a:pPr>
            <a:r>
              <a:t>BYU-Pathway Worldwide y sus escuelas asociadas tienen una</a:t>
            </a:r>
            <a:r>
              <a:rPr>
                <a:solidFill>
                  <a:srgbClr val="000000"/>
                </a:solidFill>
              </a:rPr>
              <a:t> </a:t>
            </a:r>
            <a:r>
              <a:rPr b="1">
                <a:solidFill>
                  <a:srgbClr val="3A929D"/>
                </a:solidFill>
              </a:rPr>
              <a:t>generosa política de transferencia de créditos</a:t>
            </a:r>
            <a:r>
              <a:t>.</a:t>
            </a:r>
          </a:p>
        </p:txBody>
      </p:sp>
      <p:pic>
        <p:nvPicPr>
          <p:cNvPr id="7" name="Picture 6" descr="A picture containing text, person, computer, computer  Description automatically generated">
            <a:extLst>
              <a:ext uri="{FF2B5EF4-FFF2-40B4-BE49-F238E27FC236}">
                <a16:creationId xmlns:a16="http://schemas.microsoft.com/office/drawing/2014/main" id="{7E254706-AC2D-5842-8B5B-C55CDE74DF5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5353" y="0"/>
            <a:ext cx="5216647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9993704-1A86-D204-ACD4-3DE44E38FA59}"/>
              </a:ext>
            </a:extLst>
          </p:cNvPr>
          <p:cNvSpPr txBox="1"/>
          <p:nvPr/>
        </p:nvSpPr>
        <p:spPr>
          <a:xfrm>
            <a:off x="542544" y="6093470"/>
            <a:ext cx="546208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0650" indent="-109538">
              <a:defRPr sz="1400"/>
            </a:pPr>
            <a:r>
              <a:t>* Los </a:t>
            </a:r>
            <a:r>
              <a:rPr lang="en-US" err="1"/>
              <a:t>créditos</a:t>
            </a:r>
            <a:r>
              <a:t> de </a:t>
            </a:r>
            <a:r>
              <a:rPr lang="en-US" err="1"/>
              <a:t>transferencia</a:t>
            </a:r>
            <a:r>
              <a:t> </a:t>
            </a:r>
            <a:r>
              <a:rPr lang="en-US" err="1"/>
              <a:t>variarán</a:t>
            </a:r>
            <a:r>
              <a:t> </a:t>
            </a:r>
            <a:r>
              <a:rPr lang="en-US" err="1"/>
              <a:t>según</a:t>
            </a:r>
            <a:r>
              <a:t> la </a:t>
            </a:r>
            <a:r>
              <a:rPr lang="en-US" err="1"/>
              <a:t>ubicación</a:t>
            </a:r>
            <a:r>
              <a:t> o la </a:t>
            </a:r>
            <a:r>
              <a:rPr lang="en-US" err="1"/>
              <a:t>universidad</a:t>
            </a:r>
            <a:r>
              <a:t> </a:t>
            </a:r>
            <a:r>
              <a:rPr lang="en-US" err="1"/>
              <a:t>donde</a:t>
            </a:r>
            <a:r>
              <a:t> se </a:t>
            </a:r>
            <a:r>
              <a:rPr lang="en-US" err="1"/>
              <a:t>tomaron</a:t>
            </a:r>
            <a:r>
              <a:t> </a:t>
            </a:r>
            <a:r>
              <a:rPr lang="en-US" err="1"/>
              <a:t>los</a:t>
            </a:r>
            <a:r>
              <a:t> </a:t>
            </a:r>
            <a:r>
              <a:rPr lang="en-US" err="1"/>
              <a:t>cursos</a:t>
            </a:r>
            <a: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99881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4374B5-F2B9-7340-A780-6E9CB520CA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48136" y="4509980"/>
            <a:ext cx="6207125" cy="962488"/>
          </a:xfrm>
        </p:spPr>
        <p:txBody>
          <a:bodyPr vert="horz" lIns="91440" tIns="45720" rIns="91440" bIns="45720" anchor="t">
            <a:normAutofit/>
          </a:bodyPr>
          <a:lstStyle/>
          <a:p>
            <a:pPr marL="4445">
              <a:defRPr sz="2000">
                <a:ea typeface="+mj-lt"/>
                <a:cs typeface="+mj-lt"/>
              </a:defRPr>
            </a:pPr>
            <a:r>
              <a:t>EDNA MAFAVUKE</a:t>
            </a:r>
          </a:p>
          <a:p>
            <a:pPr marL="4445">
              <a:defRPr i="1">
                <a:ea typeface="+mj-lt"/>
                <a:cs typeface="+mj-lt"/>
              </a:defRPr>
            </a:pPr>
            <a:r>
              <a:t>Zimbabue</a:t>
            </a:r>
            <a:endParaRPr lang="en-US" i="1">
              <a:cs typeface="Calibri Light"/>
            </a:endParaRPr>
          </a:p>
          <a:p>
            <a:pPr marL="4445"/>
            <a:endParaRPr lang="en-US" i="1">
              <a:cs typeface="Calibri Light"/>
            </a:endParaRPr>
          </a:p>
          <a:p>
            <a:pPr marL="4445"/>
            <a:endParaRPr lang="en-US">
              <a:cs typeface="Calibri Light" panose="020F0302020204030204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1A5F53-F75F-3A4C-86EF-8F17F3995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893C2FB-EF86-FD49-89EB-659751C15892}" type="slidenum">
              <a:rPr lang="en-US" smtClean="0"/>
              <a:t>18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12EB6CD-C714-4922-1388-35729F097065}"/>
              </a:ext>
            </a:extLst>
          </p:cNvPr>
          <p:cNvSpPr/>
          <p:nvPr/>
        </p:nvSpPr>
        <p:spPr>
          <a:xfrm>
            <a:off x="10479505" y="0"/>
            <a:ext cx="1712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9" name="Picture 8" descr="Text  Description automatically generated">
            <a:extLst>
              <a:ext uri="{FF2B5EF4-FFF2-40B4-BE49-F238E27FC236}">
                <a16:creationId xmlns:a16="http://schemas.microsoft.com/office/drawing/2014/main" id="{61B33F49-54C8-BF3B-A3A1-D1614056B33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849" y="298189"/>
            <a:ext cx="1313807" cy="826106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4B46ABE5-E8A2-CE87-5FB0-C52538C969D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327" r="-238" b="233"/>
          <a:stretch/>
        </p:blipFill>
        <p:spPr>
          <a:xfrm>
            <a:off x="1167004" y="1666456"/>
            <a:ext cx="3538708" cy="353372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A940E73-F53B-77D0-FDC1-FA51DF406EF8}"/>
              </a:ext>
            </a:extLst>
          </p:cNvPr>
          <p:cNvSpPr txBox="1"/>
          <p:nvPr/>
        </p:nvSpPr>
        <p:spPr>
          <a:xfrm>
            <a:off x="5173233" y="2048400"/>
            <a:ext cx="5583584" cy="22467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3990" indent="-457200">
              <a:defRPr sz="2800">
                <a:solidFill>
                  <a:srgbClr val="58595B"/>
                </a:solidFill>
              </a:defRPr>
            </a:pPr>
            <a:r>
              <a:rPr lang="en-US">
                <a:latin typeface="+mj-lt"/>
                <a:ea typeface="+mn-lt"/>
                <a:cs typeface="+mn-lt"/>
              </a:rPr>
              <a:t>"Gracias a la </a:t>
            </a:r>
            <a:r>
              <a:rPr lang="en-US" err="1">
                <a:latin typeface="Calibri Light"/>
                <a:ea typeface="Roboto Slab Thin"/>
                <a:cs typeface="Roboto Slab Thin"/>
              </a:rPr>
              <a:t>beca</a:t>
            </a:r>
            <a:r>
              <a:rPr>
                <a:latin typeface="Calibri Light"/>
                <a:ea typeface="Roboto Slab Thin"/>
                <a:cs typeface="Roboto Slab Thin"/>
              </a:rPr>
              <a:t> Heber J. Grant, BYU-Pathway </a:t>
            </a:r>
            <a:r>
              <a:rPr lang="en-US" err="1">
                <a:latin typeface="Calibri Light"/>
                <a:ea typeface="Roboto Slab Thin"/>
                <a:cs typeface="Roboto Slab Thin"/>
              </a:rPr>
              <a:t>llegó</a:t>
            </a:r>
            <a:r>
              <a:rPr>
                <a:latin typeface="Calibri Light"/>
                <a:ea typeface="Roboto Slab Thin"/>
                <a:cs typeface="Roboto Slab Thin"/>
              </a:rPr>
              <a:t> a mi </a:t>
            </a:r>
            <a:r>
              <a:rPr lang="en-US" err="1">
                <a:latin typeface="Calibri Light"/>
                <a:ea typeface="Roboto Slab Thin"/>
                <a:cs typeface="Roboto Slab Thin"/>
              </a:rPr>
              <a:t>vida</a:t>
            </a:r>
            <a:r>
              <a:rPr>
                <a:latin typeface="Calibri Light"/>
                <a:ea typeface="Roboto Slab Thin"/>
                <a:cs typeface="Roboto Slab Thin"/>
              </a:rPr>
              <a:t> </a:t>
            </a:r>
            <a:r>
              <a:rPr lang="en-US" err="1">
                <a:latin typeface="Calibri Light"/>
                <a:ea typeface="Roboto Slab Thin"/>
                <a:cs typeface="Roboto Slab Thin"/>
              </a:rPr>
              <a:t>como</a:t>
            </a:r>
            <a:r>
              <a:rPr>
                <a:latin typeface="Calibri Light"/>
                <a:ea typeface="Roboto Slab Thin"/>
                <a:cs typeface="Roboto Slab Thin"/>
              </a:rPr>
              <a:t> un </a:t>
            </a:r>
            <a:r>
              <a:rPr lang="en-US" err="1">
                <a:latin typeface="Calibri Light"/>
                <a:ea typeface="Roboto Slab Thin"/>
                <a:cs typeface="Roboto Slab Thin"/>
              </a:rPr>
              <a:t>sueño</a:t>
            </a:r>
            <a:r>
              <a:rPr>
                <a:latin typeface="Calibri Light"/>
                <a:ea typeface="Roboto Slab Thin"/>
                <a:cs typeface="Roboto Slab Thin"/>
              </a:rPr>
              <a:t> </a:t>
            </a:r>
            <a:r>
              <a:rPr lang="en-US" err="1">
                <a:latin typeface="Calibri Light"/>
                <a:ea typeface="Roboto Slab Thin"/>
                <a:cs typeface="Roboto Slab Thin"/>
              </a:rPr>
              <a:t>hecho</a:t>
            </a:r>
            <a:r>
              <a:rPr>
                <a:latin typeface="Calibri Light"/>
                <a:ea typeface="Roboto Slab Thin"/>
                <a:cs typeface="Roboto Slab Thin"/>
              </a:rPr>
              <a:t> </a:t>
            </a:r>
            <a:r>
              <a:rPr lang="en-US" err="1">
                <a:latin typeface="Calibri Light"/>
                <a:ea typeface="Roboto Slab Thin"/>
                <a:cs typeface="Roboto Slab Thin"/>
              </a:rPr>
              <a:t>realidad</a:t>
            </a:r>
            <a:r>
              <a:rPr>
                <a:latin typeface="Calibri Light"/>
                <a:ea typeface="Roboto Slab Thin"/>
                <a:cs typeface="Roboto Slab Thin"/>
              </a:rPr>
              <a:t>, y </a:t>
            </a:r>
            <a:r>
              <a:rPr lang="en-US" err="1">
                <a:latin typeface="Calibri Light"/>
                <a:ea typeface="Roboto Slab Thin"/>
                <a:cs typeface="Roboto Slab Thin"/>
              </a:rPr>
              <a:t>estoy</a:t>
            </a:r>
            <a:r>
              <a:rPr>
                <a:latin typeface="Calibri Light"/>
                <a:ea typeface="Roboto Slab Thin"/>
                <a:cs typeface="Roboto Slab Thin"/>
              </a:rPr>
              <a:t> </a:t>
            </a:r>
            <a:r>
              <a:rPr lang="en-US" err="1">
                <a:latin typeface="Calibri Light"/>
                <a:ea typeface="Roboto Slab Thin"/>
                <a:cs typeface="Roboto Slab Thin"/>
              </a:rPr>
              <a:t>siendo</a:t>
            </a:r>
            <a:r>
              <a:rPr>
                <a:latin typeface="Calibri Light"/>
                <a:ea typeface="Roboto Slab Thin"/>
                <a:cs typeface="Roboto Slab Thin"/>
              </a:rPr>
              <a:t> </a:t>
            </a:r>
            <a:r>
              <a:rPr lang="en-US" err="1">
                <a:latin typeface="Calibri Light"/>
                <a:ea typeface="Roboto Slab Thin"/>
                <a:cs typeface="Roboto Slab Thin"/>
              </a:rPr>
              <a:t>refinada</a:t>
            </a:r>
            <a:r>
              <a:rPr>
                <a:latin typeface="Calibri Light"/>
                <a:ea typeface="Roboto Slab Thin"/>
                <a:cs typeface="Roboto Slab Thin"/>
              </a:rPr>
              <a:t> para ser la persona que </a:t>
            </a:r>
            <a:r>
              <a:rPr lang="en-US" err="1">
                <a:latin typeface="Calibri Light"/>
                <a:ea typeface="Roboto Slab Thin"/>
                <a:cs typeface="Roboto Slab Thin"/>
              </a:rPr>
              <a:t>el</a:t>
            </a:r>
            <a:r>
              <a:rPr>
                <a:latin typeface="Calibri Light"/>
                <a:ea typeface="Roboto Slab Thin"/>
                <a:cs typeface="Roboto Slab Thin"/>
              </a:rPr>
              <a:t> </a:t>
            </a:r>
            <a:r>
              <a:rPr lang="en-US" err="1">
                <a:latin typeface="Calibri Light"/>
                <a:ea typeface="Roboto Slab Thin"/>
                <a:cs typeface="Roboto Slab Thin"/>
              </a:rPr>
              <a:t>Señor</a:t>
            </a:r>
            <a:r>
              <a:rPr>
                <a:latin typeface="Calibri Light"/>
                <a:ea typeface="Roboto Slab Thin"/>
                <a:cs typeface="Roboto Slab Thin"/>
              </a:rPr>
              <a:t> </a:t>
            </a:r>
            <a:r>
              <a:rPr lang="en-US" err="1">
                <a:latin typeface="Calibri Light"/>
                <a:ea typeface="Roboto Slab Thin"/>
                <a:cs typeface="Roboto Slab Thin"/>
              </a:rPr>
              <a:t>quiere</a:t>
            </a:r>
            <a:r>
              <a:rPr>
                <a:latin typeface="Calibri Light"/>
                <a:ea typeface="Roboto Slab Thin"/>
                <a:cs typeface="Roboto Slab Thin"/>
              </a:rPr>
              <a:t> que sea".</a:t>
            </a:r>
            <a:endParaRPr lang="en-US" sz="2800">
              <a:solidFill>
                <a:srgbClr val="58595B"/>
              </a:solidFill>
              <a:latin typeface="Roboto Slab Thin"/>
              <a:ea typeface="Roboto Slab Thin"/>
              <a:cs typeface="Roboto Slab Thin"/>
            </a:endParaRPr>
          </a:p>
        </p:txBody>
      </p:sp>
    </p:spTree>
    <p:extLst>
      <p:ext uri="{BB962C8B-B14F-4D97-AF65-F5344CB8AC3E}">
        <p14:creationId xmlns:p14="http://schemas.microsoft.com/office/powerpoint/2010/main" val="397379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A3A9F34-98D4-9547-B942-3279C8707609}"/>
              </a:ext>
            </a:extLst>
          </p:cNvPr>
          <p:cNvSpPr/>
          <p:nvPr/>
        </p:nvSpPr>
        <p:spPr>
          <a:xfrm>
            <a:off x="4985657" y="0"/>
            <a:ext cx="2220686" cy="1854926"/>
          </a:xfrm>
          <a:prstGeom prst="rect">
            <a:avLst/>
          </a:prstGeom>
          <a:solidFill>
            <a:srgbClr val="F9C6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EA71D5DF-E7DC-3741-8D95-947602EF5B8B}"/>
              </a:ext>
            </a:extLst>
          </p:cNvPr>
          <p:cNvSpPr txBox="1">
            <a:spLocks/>
          </p:cNvSpPr>
          <p:nvPr/>
        </p:nvSpPr>
        <p:spPr>
          <a:xfrm>
            <a:off x="879652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93C2FB-EF86-FD49-89EB-659751C15892}" type="slidenum">
              <a:rPr lang="en-US" smtClean="0"/>
              <a:t>1</a:t>
            </a:fld>
            <a:endParaRPr lang="en-US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16521770-80B6-B447-80F3-E433B45DFE28}"/>
              </a:ext>
            </a:extLst>
          </p:cNvPr>
          <p:cNvSpPr txBox="1">
            <a:spLocks/>
          </p:cNvSpPr>
          <p:nvPr/>
        </p:nvSpPr>
        <p:spPr>
          <a:xfrm>
            <a:off x="1514338" y="2212337"/>
            <a:ext cx="9028113" cy="1385940"/>
          </a:xfrm>
          <a:prstGeom prst="rect">
            <a:avLst/>
          </a:prstGeom>
        </p:spPr>
        <p:txBody>
          <a:bodyPr vert="horz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None/>
              <a:defRPr sz="2400"/>
            </a:pPr>
            <a:r>
              <a:t>En </a:t>
            </a:r>
            <a:r>
              <a:rPr err="1"/>
              <a:t>asociación</a:t>
            </a:r>
            <a:r>
              <a:t> con BYU-Idaho y Ensign College, BYU-Pathway Worldwide </a:t>
            </a:r>
            <a:r>
              <a:rPr err="1"/>
              <a:t>ofrece</a:t>
            </a:r>
            <a:r>
              <a:t> </a:t>
            </a:r>
            <a:r>
              <a:rPr err="1"/>
              <a:t>acceso</a:t>
            </a:r>
            <a:r>
              <a:t> a </a:t>
            </a:r>
            <a:r>
              <a:rPr b="1" err="1">
                <a:solidFill>
                  <a:srgbClr val="3A929D"/>
                </a:solidFill>
                <a:latin typeface="Calibri"/>
                <a:cs typeface="Calibri"/>
              </a:rPr>
              <a:t>títulos</a:t>
            </a:r>
            <a:r>
              <a:rPr lang="en-US" b="1">
                <a:solidFill>
                  <a:srgbClr val="3A929D"/>
                </a:solidFill>
                <a:latin typeface="Calibri"/>
                <a:cs typeface="Calibri"/>
              </a:rPr>
              <a:t> </a:t>
            </a:r>
            <a:r>
              <a:rPr lang="en-US" b="1" err="1">
                <a:solidFill>
                  <a:srgbClr val="3A929D"/>
                </a:solidFill>
                <a:latin typeface="Calibri"/>
                <a:cs typeface="Calibri"/>
              </a:rPr>
              <a:t>universitarios</a:t>
            </a:r>
            <a:r>
              <a:rPr lang="en-US" b="1">
                <a:solidFill>
                  <a:srgbClr val="3A929D"/>
                </a:solidFill>
                <a:latin typeface="Calibri"/>
                <a:cs typeface="Calibri"/>
              </a:rPr>
              <a:t>. </a:t>
            </a:r>
            <a:r>
              <a:rPr lang="en-US">
                <a:latin typeface="Calibri"/>
                <a:cs typeface="Calibri"/>
              </a:rPr>
              <a:t>Con</a:t>
            </a:r>
            <a:r>
              <a:rPr>
                <a:latin typeface="Calibri"/>
                <a:cs typeface="Calibri"/>
              </a:rPr>
              <a:t> base</a:t>
            </a:r>
            <a:r>
              <a:rPr b="1">
                <a:solidFill>
                  <a:srgbClr val="3A929D"/>
                </a:solidFill>
                <a:latin typeface="Calibri"/>
                <a:cs typeface="Calibri"/>
              </a:rPr>
              <a:t> </a:t>
            </a:r>
            <a:r>
              <a:rPr b="1" err="1">
                <a:solidFill>
                  <a:srgbClr val="3A929D"/>
                </a:solidFill>
                <a:latin typeface="Calibri"/>
                <a:cs typeface="Calibri"/>
              </a:rPr>
              <a:t>espiritual</a:t>
            </a:r>
            <a:r>
              <a:t>, </a:t>
            </a:r>
            <a:br>
              <a:rPr lang="en-US" sz="2400"/>
            </a:br>
            <a:r>
              <a:rPr err="1"/>
              <a:t>completamente</a:t>
            </a:r>
            <a:r>
              <a:t> </a:t>
            </a:r>
            <a:r>
              <a:rPr b="1" err="1">
                <a:solidFill>
                  <a:srgbClr val="3A929D"/>
                </a:solidFill>
              </a:rPr>
              <a:t>en</a:t>
            </a:r>
            <a:r>
              <a:rPr b="1">
                <a:solidFill>
                  <a:srgbClr val="3A929D"/>
                </a:solidFill>
              </a:rPr>
              <a:t> </a:t>
            </a:r>
            <a:r>
              <a:rPr b="1" err="1">
                <a:solidFill>
                  <a:srgbClr val="3A929D"/>
                </a:solidFill>
              </a:rPr>
              <a:t>línea</a:t>
            </a:r>
            <a:r>
              <a:t> y a un </a:t>
            </a:r>
            <a:r>
              <a:rPr b="1" err="1">
                <a:solidFill>
                  <a:srgbClr val="3A929D"/>
                </a:solidFill>
              </a:rPr>
              <a:t>costo</a:t>
            </a:r>
            <a:r>
              <a:rPr b="1">
                <a:solidFill>
                  <a:srgbClr val="3A929D"/>
                </a:solidFill>
              </a:rPr>
              <a:t> </a:t>
            </a:r>
            <a:r>
              <a:rPr b="1" err="1">
                <a:solidFill>
                  <a:srgbClr val="3A929D"/>
                </a:solidFill>
              </a:rPr>
              <a:t>significativamente</a:t>
            </a:r>
            <a:r>
              <a:rPr b="1">
                <a:solidFill>
                  <a:srgbClr val="3A929D"/>
                </a:solidFill>
              </a:rPr>
              <a:t> </a:t>
            </a:r>
            <a:r>
              <a:rPr b="1" err="1">
                <a:solidFill>
                  <a:srgbClr val="3A929D"/>
                </a:solidFill>
              </a:rPr>
              <a:t>reducido</a:t>
            </a:r>
            <a:r>
              <a:t>.</a:t>
            </a:r>
            <a:endParaRPr lang="en-US">
              <a:cs typeface="Calibri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1135A166-E620-744D-8B95-14B1A91638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54372" y="3641819"/>
            <a:ext cx="2057400" cy="205740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E1F72854-B4F8-D243-A1D4-EF3F57A27E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86116" y="3867596"/>
            <a:ext cx="1524000" cy="152400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8FD51A72-311F-3245-BFC1-5F5CAA82AE1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2243328" y="3822368"/>
            <a:ext cx="1524000" cy="152400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061D94E2-836E-EE4F-AC2E-903DE5C55B97}"/>
              </a:ext>
            </a:extLst>
          </p:cNvPr>
          <p:cNvSpPr txBox="1"/>
          <p:nvPr/>
        </p:nvSpPr>
        <p:spPr>
          <a:xfrm>
            <a:off x="8169232" y="5367004"/>
            <a:ext cx="195776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 sz="3200" b="1">
                <a:solidFill>
                  <a:schemeClr val="accent6">
                    <a:lumMod val="75000"/>
                    <a:lumOff val="25000"/>
                  </a:schemeClr>
                </a:solidFill>
              </a:defRPr>
            </a:pPr>
            <a:r>
              <a:t>Bajo costo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DF252B8-74CF-F44D-9C66-D414C0B370E9}"/>
              </a:ext>
            </a:extLst>
          </p:cNvPr>
          <p:cNvSpPr txBox="1"/>
          <p:nvPr/>
        </p:nvSpPr>
        <p:spPr>
          <a:xfrm>
            <a:off x="5222649" y="5374523"/>
            <a:ext cx="173848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 sz="3200" b="1">
                <a:solidFill>
                  <a:schemeClr val="accent6">
                    <a:lumMod val="75000"/>
                    <a:lumOff val="25000"/>
                  </a:schemeClr>
                </a:solidFill>
              </a:defRPr>
            </a:pPr>
            <a:r>
              <a:t>En líne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ED74288-F993-2A4C-A717-1C6A7F535098}"/>
              </a:ext>
            </a:extLst>
          </p:cNvPr>
          <p:cNvSpPr txBox="1"/>
          <p:nvPr/>
        </p:nvSpPr>
        <p:spPr>
          <a:xfrm>
            <a:off x="2066553" y="5369041"/>
            <a:ext cx="1875539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>
              <a:defRPr sz="3200" b="1">
                <a:solidFill>
                  <a:schemeClr val="accent6">
                    <a:lumMod val="75000"/>
                    <a:lumOff val="25000"/>
                  </a:schemeClr>
                </a:solidFill>
              </a:defRPr>
            </a:pPr>
            <a:r>
              <a:rPr lang="en-US"/>
              <a:t>Espiritual</a:t>
            </a:r>
            <a:endParaRPr/>
          </a:p>
        </p:txBody>
      </p:sp>
      <p:pic>
        <p:nvPicPr>
          <p:cNvPr id="3" name="Picture 2" descr="Text  Description automatically generated">
            <a:extLst>
              <a:ext uri="{FF2B5EF4-FFF2-40B4-BE49-F238E27FC236}">
                <a16:creationId xmlns:a16="http://schemas.microsoft.com/office/drawing/2014/main" id="{071D2044-38DA-5DE0-1402-D82CA813D63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22649" y="379389"/>
            <a:ext cx="1743270" cy="1096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667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4374B5-F2B9-7340-A780-6E9CB520CA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28542" y="4630591"/>
            <a:ext cx="6207125" cy="962488"/>
          </a:xfrm>
        </p:spPr>
        <p:txBody>
          <a:bodyPr vert="horz" lIns="91440" tIns="45720" rIns="91440" bIns="45720" anchor="t">
            <a:normAutofit/>
          </a:bodyPr>
          <a:lstStyle/>
          <a:p>
            <a:pPr marL="4445">
              <a:defRPr sz="2000">
                <a:solidFill>
                  <a:srgbClr val="656365"/>
                </a:solidFill>
                <a:ea typeface="+mj-lt"/>
                <a:cs typeface="+mj-lt"/>
              </a:defRPr>
            </a:pPr>
            <a:r>
              <a:t>STEVEN MORRISSEY</a:t>
            </a:r>
          </a:p>
          <a:p>
            <a:pPr marL="4445">
              <a:defRPr i="1">
                <a:solidFill>
                  <a:srgbClr val="656365"/>
                </a:solidFill>
                <a:ea typeface="+mj-lt"/>
                <a:cs typeface="+mj-lt"/>
              </a:defRPr>
            </a:pPr>
            <a:r>
              <a:t>ESTADOS UNIDOS</a:t>
            </a:r>
            <a:endParaRPr lang="en-US" i="1">
              <a:cs typeface="Calibri Light"/>
            </a:endParaRPr>
          </a:p>
          <a:p>
            <a:pPr marL="4445"/>
            <a:endParaRPr lang="en-US" i="1">
              <a:cs typeface="Calibri Light"/>
            </a:endParaRPr>
          </a:p>
          <a:p>
            <a:pPr marL="4445"/>
            <a:endParaRPr lang="en-US">
              <a:cs typeface="Calibri Light" panose="020F0302020204030204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1A5F53-F75F-3A4C-86EF-8F17F3995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893C2FB-EF86-FD49-89EB-659751C15892}" type="slidenum">
              <a:rPr lang="en-US" smtClean="0"/>
              <a:t>19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12EB6CD-C714-4922-1388-35729F097065}"/>
              </a:ext>
            </a:extLst>
          </p:cNvPr>
          <p:cNvSpPr/>
          <p:nvPr/>
        </p:nvSpPr>
        <p:spPr>
          <a:xfrm>
            <a:off x="10479505" y="0"/>
            <a:ext cx="1712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9" name="Picture 8" descr="Text  Description automatically generated">
            <a:extLst>
              <a:ext uri="{FF2B5EF4-FFF2-40B4-BE49-F238E27FC236}">
                <a16:creationId xmlns:a16="http://schemas.microsoft.com/office/drawing/2014/main" id="{61B33F49-54C8-BF3B-A3A1-D1614056B33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849" y="298189"/>
            <a:ext cx="1313807" cy="82610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4DCE381-A32C-6D8A-E72B-2D79BB72329D}"/>
              </a:ext>
            </a:extLst>
          </p:cNvPr>
          <p:cNvSpPr txBox="1"/>
          <p:nvPr/>
        </p:nvSpPr>
        <p:spPr>
          <a:xfrm>
            <a:off x="5288977" y="2071564"/>
            <a:ext cx="6493106" cy="22467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3990" indent="-457200">
              <a:defRPr sz="2800">
                <a:solidFill>
                  <a:srgbClr val="58595B"/>
                </a:solidFill>
                <a:latin typeface="Calibri Light"/>
                <a:ea typeface="Roboto Slab Thin"/>
                <a:cs typeface="Roboto Slab Thin"/>
              </a:defRPr>
            </a:pPr>
            <a:r>
              <a:t>"Esta </a:t>
            </a:r>
            <a:r>
              <a:rPr err="1"/>
              <a:t>beca</a:t>
            </a:r>
            <a:r>
              <a:t> </a:t>
            </a:r>
            <a:r>
              <a:rPr err="1"/>
              <a:t>puede</a:t>
            </a:r>
            <a:r>
              <a:t> </a:t>
            </a:r>
            <a:r>
              <a:rPr err="1"/>
              <a:t>parecer</a:t>
            </a:r>
            <a:r>
              <a:t> que solo me beneficia a </a:t>
            </a:r>
            <a:r>
              <a:rPr err="1"/>
              <a:t>mí</a:t>
            </a:r>
            <a:r>
              <a:t>, </a:t>
            </a:r>
            <a:r>
              <a:rPr err="1"/>
              <a:t>pero</a:t>
            </a:r>
            <a:r>
              <a:t> beneficia a </a:t>
            </a:r>
            <a:r>
              <a:rPr err="1"/>
              <a:t>toda</a:t>
            </a:r>
            <a:r>
              <a:t> mi </a:t>
            </a:r>
            <a:r>
              <a:rPr err="1"/>
              <a:t>familia</a:t>
            </a:r>
            <a:r>
              <a:t>. </a:t>
            </a:r>
            <a:r>
              <a:rPr err="1"/>
              <a:t>Obtener</a:t>
            </a:r>
            <a:r>
              <a:t> mi </a:t>
            </a:r>
            <a:r>
              <a:rPr err="1"/>
              <a:t>educación</a:t>
            </a:r>
            <a:r>
              <a:t> </a:t>
            </a:r>
            <a:r>
              <a:rPr err="1"/>
              <a:t>permite</a:t>
            </a:r>
            <a:r>
              <a:t> que mis </a:t>
            </a:r>
            <a:r>
              <a:rPr err="1"/>
              <a:t>hijos</a:t>
            </a:r>
            <a:r>
              <a:t> </a:t>
            </a:r>
            <a:r>
              <a:rPr err="1"/>
              <a:t>tengan</a:t>
            </a:r>
            <a:r>
              <a:t> </a:t>
            </a:r>
            <a:r>
              <a:rPr err="1"/>
              <a:t>más</a:t>
            </a:r>
            <a:r>
              <a:t> </a:t>
            </a:r>
            <a:r>
              <a:rPr err="1"/>
              <a:t>oportunidades</a:t>
            </a:r>
            <a:r>
              <a:t>. </a:t>
            </a:r>
            <a:r>
              <a:rPr lang="en-US"/>
              <a:t>No </a:t>
            </a:r>
            <a:r>
              <a:rPr lang="en-US" err="1"/>
              <a:t>podría</a:t>
            </a:r>
            <a:r>
              <a:rPr lang="en-US"/>
              <a:t> </a:t>
            </a:r>
            <a:r>
              <a:rPr lang="en-US" err="1"/>
              <a:t>estar</a:t>
            </a:r>
            <a:r>
              <a:rPr lang="en-US"/>
              <a:t> </a:t>
            </a:r>
            <a:r>
              <a:rPr lang="en-US" err="1"/>
              <a:t>más</a:t>
            </a:r>
            <a:r>
              <a:rPr lang="en-US"/>
              <a:t> agradecida</a:t>
            </a:r>
            <a:r>
              <a:t>".</a:t>
            </a:r>
            <a:endParaRPr lang="en-US">
              <a:latin typeface="Calibri Light"/>
              <a:cs typeface="Calibri" panose="020F0502020204030204"/>
            </a:endParaRPr>
          </a:p>
        </p:txBody>
      </p:sp>
      <p:pic>
        <p:nvPicPr>
          <p:cNvPr id="3" name="Picture 9">
            <a:extLst>
              <a:ext uri="{FF2B5EF4-FFF2-40B4-BE49-F238E27FC236}">
                <a16:creationId xmlns:a16="http://schemas.microsoft.com/office/drawing/2014/main" id="{B826741E-9EB6-2B8C-6701-BD65A24516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4400" y="1597829"/>
            <a:ext cx="3865200" cy="3974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860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A picture containing commencement, academic costume, graduation, person  Description automatically generated">
            <a:extLst>
              <a:ext uri="{FF2B5EF4-FFF2-40B4-BE49-F238E27FC236}">
                <a16:creationId xmlns:a16="http://schemas.microsoft.com/office/drawing/2014/main" id="{22D7E746-F8D4-1C77-BAFF-C9D0C760BEC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250" t="17893" r="7167" b="13835"/>
          <a:stretch/>
        </p:blipFill>
        <p:spPr>
          <a:xfrm>
            <a:off x="-44603" y="-39523"/>
            <a:ext cx="12304308" cy="607397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A3A9F34-98D4-9547-B942-3279C8707609}"/>
              </a:ext>
            </a:extLst>
          </p:cNvPr>
          <p:cNvSpPr/>
          <p:nvPr/>
        </p:nvSpPr>
        <p:spPr>
          <a:xfrm>
            <a:off x="-20601" y="5772902"/>
            <a:ext cx="12290555" cy="1119572"/>
          </a:xfrm>
          <a:prstGeom prst="rect">
            <a:avLst/>
          </a:prstGeom>
          <a:solidFill>
            <a:srgbClr val="454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3DB7BEA-64A9-8BC2-B0AF-DFD61C001233}"/>
              </a:ext>
            </a:extLst>
          </p:cNvPr>
          <p:cNvSpPr txBox="1">
            <a:spLocks/>
          </p:cNvSpPr>
          <p:nvPr/>
        </p:nvSpPr>
        <p:spPr>
          <a:xfrm>
            <a:off x="1970298" y="5903008"/>
            <a:ext cx="9844087" cy="911171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Open Sans" pitchFamily="2" charset="0"/>
                <a:cs typeface="Open Sans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Open Sans" pitchFamily="2" charset="0"/>
                <a:cs typeface="Open Sans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Open Sans" pitchFamily="2" charset="0"/>
                <a:cs typeface="Open Sans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Open Sans" pitchFamily="2" charset="0"/>
                <a:cs typeface="Open Sans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Open Sans" pitchFamily="2" charset="0"/>
                <a:cs typeface="Open Sans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 sz="4800">
                <a:solidFill>
                  <a:schemeClr val="bg1"/>
                </a:solidFill>
                <a:latin typeface="Roboto Slab Light"/>
                <a:ea typeface="Roboto Slab Light"/>
                <a:cs typeface="Open Sans"/>
              </a:defRPr>
            </a:pPr>
            <a:r>
              <a:t>Encuentra un camino a seguir</a:t>
            </a:r>
            <a:endParaRPr lang="en-US" sz="4800">
              <a:solidFill>
                <a:schemeClr val="bg1"/>
              </a:solidFill>
              <a:latin typeface="Roboto Slab Ligh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54DC1D-795B-CFD9-404F-0F73FCE19CC1}"/>
              </a:ext>
            </a:extLst>
          </p:cNvPr>
          <p:cNvSpPr/>
          <p:nvPr/>
        </p:nvSpPr>
        <p:spPr>
          <a:xfrm>
            <a:off x="818194" y="5249262"/>
            <a:ext cx="1598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4" name="Graphic 6">
            <a:extLst>
              <a:ext uri="{FF2B5EF4-FFF2-40B4-BE49-F238E27FC236}">
                <a16:creationId xmlns:a16="http://schemas.microsoft.com/office/drawing/2014/main" id="{00116DBE-508C-B3C7-FB0C-B5908D6D3A5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1703" y="5323293"/>
            <a:ext cx="1348800" cy="136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964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2BCF8038-2EBE-8449-8098-DA5993145292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9407" y="963936"/>
            <a:ext cx="3534234" cy="4930128"/>
          </a:xfr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27E51CC-9616-6D42-B578-1FC5CE6B35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87206" y="4466404"/>
            <a:ext cx="6207125" cy="1135782"/>
          </a:xfrm>
        </p:spPr>
        <p:txBody>
          <a:bodyPr vert="horz" lIns="91440" tIns="45720" rIns="91440" bIns="45720" anchor="t">
            <a:normAutofit/>
          </a:bodyPr>
          <a:lstStyle/>
          <a:p>
            <a:pPr marL="91440" indent="-457200">
              <a:defRPr sz="2000" spc="90"/>
            </a:pPr>
            <a:r>
              <a:rPr>
                <a:solidFill>
                  <a:schemeClr val="tx2">
                    <a:lumMod val="90000"/>
                    <a:lumOff val="10000"/>
                  </a:schemeClr>
                </a:solidFill>
              </a:rPr>
              <a:t> </a:t>
            </a:r>
            <a:r>
              <a:t>PRESIDENTE RUSSELL M. NELSON</a:t>
            </a:r>
          </a:p>
          <a:p>
            <a:pPr marL="91440" indent="-457200"/>
            <a:endParaRPr lang="en-US" sz="300" spc="90"/>
          </a:p>
          <a:p>
            <a:pPr marL="91440" indent="-457200">
              <a:defRPr i="1"/>
            </a:pPr>
            <a:r>
              <a:t>"</a:t>
            </a:r>
            <a:r>
              <a:rPr>
                <a:ea typeface="+mj-lt"/>
                <a:cs typeface="+mj-lt"/>
              </a:rPr>
              <a:t>Inauguration of Clark G. Gilbert" (BYU-Pathway Worldwide Inauguration, Nov. 16, 2017), byupathway.org/speeches</a:t>
            </a:r>
          </a:p>
          <a:p>
            <a:pPr marL="91440" indent="-457200"/>
            <a:endParaRPr lang="en-US" i="1">
              <a:cs typeface="Calibri Ligh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6F4071-8806-6945-8B92-7B7F1DFFF3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99668" y="6356350"/>
            <a:ext cx="2743200" cy="365125"/>
          </a:xfrm>
        </p:spPr>
        <p:txBody>
          <a:bodyPr/>
          <a:lstStyle/>
          <a:p>
            <a:fld id="{8893C2FB-EF86-FD49-89EB-659751C15892}" type="slidenum">
              <a:rPr lang="en-US" smtClean="0"/>
              <a:t>21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5D16C-14E2-EB05-3070-CA1F80EFF499}"/>
              </a:ext>
            </a:extLst>
          </p:cNvPr>
          <p:cNvSpPr/>
          <p:nvPr/>
        </p:nvSpPr>
        <p:spPr>
          <a:xfrm>
            <a:off x="10479505" y="0"/>
            <a:ext cx="1712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12" name="Picture 11" descr="Text  Description automatically generated">
            <a:extLst>
              <a:ext uri="{FF2B5EF4-FFF2-40B4-BE49-F238E27FC236}">
                <a16:creationId xmlns:a16="http://schemas.microsoft.com/office/drawing/2014/main" id="{C48AEFC2-07B0-174B-70A2-0E53F448DE8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849" y="298189"/>
            <a:ext cx="1313807" cy="82610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D06104A-829B-66CC-9B73-FC55C759289C}"/>
              </a:ext>
            </a:extLst>
          </p:cNvPr>
          <p:cNvSpPr txBox="1"/>
          <p:nvPr/>
        </p:nvSpPr>
        <p:spPr>
          <a:xfrm>
            <a:off x="5107367" y="1961351"/>
            <a:ext cx="5224670" cy="22467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3990" indent="-457200">
              <a:defRPr sz="2800">
                <a:solidFill>
                  <a:srgbClr val="58595B"/>
                </a:solidFill>
                <a:latin typeface="Calibri Light"/>
                <a:ea typeface="Roboto Slab Thin"/>
                <a:cs typeface="Roboto Slab Thin"/>
              </a:defRPr>
            </a:pPr>
            <a:r>
              <a:t>"BYU-Pathway Worldwide aporta un enfoque innovador a la educación, uno único para el Sistema Educativo de la Iglesia y para el mundo".</a:t>
            </a:r>
            <a:endParaRPr lang="en-US">
              <a:latin typeface="Calibri Light"/>
              <a:cs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11277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654BE8D-8FA8-E848-A8A4-B29156438D36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2361520"/>
            <a:ext cx="12030844" cy="4187952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9743748-029C-BA4B-BFEB-538BEAB6647F}"/>
              </a:ext>
            </a:extLst>
          </p:cNvPr>
          <p:cNvGrpSpPr/>
          <p:nvPr/>
        </p:nvGrpSpPr>
        <p:grpSpPr>
          <a:xfrm>
            <a:off x="6795038" y="4283271"/>
            <a:ext cx="3478900" cy="1431729"/>
            <a:chOff x="6933068" y="2489510"/>
            <a:chExt cx="3478900" cy="1431729"/>
          </a:xfrm>
        </p:grpSpPr>
        <p:sp>
          <p:nvSpPr>
            <p:cNvPr id="11" name="Content Placeholder 2">
              <a:extLst>
                <a:ext uri="{FF2B5EF4-FFF2-40B4-BE49-F238E27FC236}">
                  <a16:creationId xmlns:a16="http://schemas.microsoft.com/office/drawing/2014/main" id="{8128025E-2085-7549-B624-6835C7347657}"/>
                </a:ext>
              </a:extLst>
            </p:cNvPr>
            <p:cNvSpPr txBox="1">
              <a:spLocks/>
            </p:cNvSpPr>
            <p:nvPr/>
          </p:nvSpPr>
          <p:spPr>
            <a:xfrm>
              <a:off x="8461800" y="2856526"/>
              <a:ext cx="1257788" cy="574261"/>
            </a:xfrm>
            <a:prstGeom prst="rect">
              <a:avLst/>
            </a:prstGeom>
          </p:spPr>
          <p:txBody>
            <a:bodyPr vert="horz" lIns="91440" tIns="45720" rIns="91440" bIns="45720">
              <a:normAutofit fontScale="92500" lnSpcReduction="20000"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  <a:defRPr sz="4800" b="1">
                  <a:solidFill>
                    <a:srgbClr val="3A929D"/>
                  </a:solidFill>
                </a:defRPr>
              </a:pPr>
              <a:r>
                <a:t>50</a:t>
              </a:r>
            </a:p>
            <a:p>
              <a:pPr marL="0" indent="0">
                <a:buFont typeface="Arial"/>
                <a:buNone/>
              </a:pPr>
              <a:endParaRPr lang="en-US">
                <a:solidFill>
                  <a:srgbClr val="313031"/>
                </a:solidFill>
              </a:endParaRPr>
            </a:p>
          </p:txBody>
        </p:sp>
        <p:sp>
          <p:nvSpPr>
            <p:cNvPr id="13" name="Content Placeholder 2">
              <a:extLst>
                <a:ext uri="{FF2B5EF4-FFF2-40B4-BE49-F238E27FC236}">
                  <a16:creationId xmlns:a16="http://schemas.microsoft.com/office/drawing/2014/main" id="{3EE4FC85-3420-6E46-9A23-9394895C232D}"/>
                </a:ext>
              </a:extLst>
            </p:cNvPr>
            <p:cNvSpPr txBox="1">
              <a:spLocks/>
            </p:cNvSpPr>
            <p:nvPr/>
          </p:nvSpPr>
          <p:spPr>
            <a:xfrm>
              <a:off x="8473798" y="3314958"/>
              <a:ext cx="1938170" cy="354881"/>
            </a:xfrm>
            <a:prstGeom prst="rect">
              <a:avLst/>
            </a:prstGeom>
          </p:spPr>
          <p:txBody>
            <a:bodyPr vert="horz" lIns="91440" tIns="45720" rIns="91440" bIns="4572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  <a:defRPr sz="2400"/>
              </a:pPr>
              <a:r>
                <a:t>Estados de EE. UU.</a:t>
              </a:r>
            </a:p>
            <a:p>
              <a:pPr marL="0" indent="0">
                <a:buFont typeface="Arial"/>
                <a:buNone/>
              </a:pPr>
              <a:endParaRPr lang="en-US" sz="1800">
                <a:solidFill>
                  <a:srgbClr val="313031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A79687C4-B883-C04E-A357-186FF25D63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933068" y="2489510"/>
              <a:ext cx="1431729" cy="1431729"/>
            </a:xfrm>
            <a:prstGeom prst="rect">
              <a:avLst/>
            </a:prstGeom>
          </p:spPr>
        </p:pic>
      </p:grp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1B62A34-B3B6-4349-92F0-797C0A58AE51}"/>
              </a:ext>
            </a:extLst>
          </p:cNvPr>
          <p:cNvSpPr txBox="1">
            <a:spLocks/>
          </p:cNvSpPr>
          <p:nvPr/>
        </p:nvSpPr>
        <p:spPr>
          <a:xfrm>
            <a:off x="1343362" y="3724047"/>
            <a:ext cx="4587768" cy="1441490"/>
          </a:xfrm>
          <a:prstGeom prst="rect">
            <a:avLst/>
          </a:prstGeom>
        </p:spPr>
        <p:txBody>
          <a:bodyPr vert="horz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 sz="9600" b="1">
                <a:solidFill>
                  <a:srgbClr val="3A929D"/>
                </a:solidFill>
              </a:defRPr>
            </a:pPr>
            <a:r>
              <a:t>61,338</a:t>
            </a:r>
            <a:endParaRPr lang="en-US" sz="5400" b="1">
              <a:solidFill>
                <a:srgbClr val="F9C608"/>
              </a:solidFill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C3A6AFC-2C1E-184F-81B1-63F70349E2B1}"/>
              </a:ext>
            </a:extLst>
          </p:cNvPr>
          <p:cNvSpPr txBox="1">
            <a:spLocks/>
          </p:cNvSpPr>
          <p:nvPr/>
        </p:nvSpPr>
        <p:spPr>
          <a:xfrm>
            <a:off x="1581381" y="5044687"/>
            <a:ext cx="4190092" cy="759595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 sz="3100"/>
            </a:pPr>
            <a:r>
              <a:t>Estudiantes atendidos en 2022</a:t>
            </a:r>
          </a:p>
          <a:p>
            <a:pPr marL="0" indent="0" algn="ctr">
              <a:buFont typeface="Arial"/>
              <a:buNone/>
            </a:pPr>
            <a:endParaRPr lang="en-US" sz="2000">
              <a:solidFill>
                <a:srgbClr val="313031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8FE6B69-276F-9743-A1BB-44682FF100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83070" y="2396119"/>
            <a:ext cx="1689643" cy="1689643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093A650-F293-D145-A818-A4A6A56F52E6}"/>
              </a:ext>
            </a:extLst>
          </p:cNvPr>
          <p:cNvCxnSpPr>
            <a:cxnSpLocks/>
          </p:cNvCxnSpPr>
          <p:nvPr/>
        </p:nvCxnSpPr>
        <p:spPr>
          <a:xfrm>
            <a:off x="6096000" y="2361520"/>
            <a:ext cx="0" cy="347844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EA71D5DF-E7DC-3741-8D95-947602EF5B8B}"/>
              </a:ext>
            </a:extLst>
          </p:cNvPr>
          <p:cNvSpPr txBox="1">
            <a:spLocks/>
          </p:cNvSpPr>
          <p:nvPr/>
        </p:nvSpPr>
        <p:spPr>
          <a:xfrm>
            <a:off x="879652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93C2FB-EF86-FD49-89EB-659751C15892}" type="slidenum">
              <a:rPr lang="en-US" smtClean="0"/>
              <a:t>22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AAF684B-AAA6-D14A-B33D-C5788C76530D}"/>
              </a:ext>
            </a:extLst>
          </p:cNvPr>
          <p:cNvGrpSpPr/>
          <p:nvPr/>
        </p:nvGrpSpPr>
        <p:grpSpPr>
          <a:xfrm>
            <a:off x="6896282" y="2732319"/>
            <a:ext cx="3344998" cy="1126126"/>
            <a:chOff x="7066970" y="4066710"/>
            <a:chExt cx="3344998" cy="1126126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A54A6C9C-B7AC-A542-9A06-E82407613B3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066970" y="4066710"/>
              <a:ext cx="1126126" cy="1126126"/>
            </a:xfrm>
            <a:prstGeom prst="rect">
              <a:avLst/>
            </a:prstGeom>
          </p:spPr>
        </p:pic>
        <p:sp>
          <p:nvSpPr>
            <p:cNvPr id="25" name="Content Placeholder 2">
              <a:extLst>
                <a:ext uri="{FF2B5EF4-FFF2-40B4-BE49-F238E27FC236}">
                  <a16:creationId xmlns:a16="http://schemas.microsoft.com/office/drawing/2014/main" id="{CFED76EC-02F7-7B47-A712-14380461C44A}"/>
                </a:ext>
              </a:extLst>
            </p:cNvPr>
            <p:cNvSpPr txBox="1">
              <a:spLocks/>
            </p:cNvSpPr>
            <p:nvPr/>
          </p:nvSpPr>
          <p:spPr>
            <a:xfrm>
              <a:off x="8461800" y="4164624"/>
              <a:ext cx="1413720" cy="788929"/>
            </a:xfrm>
            <a:prstGeom prst="rect">
              <a:avLst/>
            </a:prstGeom>
          </p:spPr>
          <p:txBody>
            <a:bodyPr vert="horz" lIns="91440" tIns="45720" rIns="91440" bIns="45720">
              <a:normAutofit fontScale="85000" lnSpcReduction="10000"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  <a:defRPr sz="5200" b="1">
                  <a:solidFill>
                    <a:srgbClr val="3A929D"/>
                  </a:solidFill>
                </a:defRPr>
              </a:pPr>
              <a:r>
                <a:t>180+</a:t>
              </a:r>
            </a:p>
            <a:p>
              <a:pPr marL="0" indent="0">
                <a:buFont typeface="Arial"/>
                <a:buNone/>
              </a:pPr>
              <a:endParaRPr lang="en-US">
                <a:solidFill>
                  <a:srgbClr val="313031"/>
                </a:solidFill>
              </a:endParaRPr>
            </a:p>
          </p:txBody>
        </p:sp>
        <p:sp>
          <p:nvSpPr>
            <p:cNvPr id="27" name="Content Placeholder 2">
              <a:extLst>
                <a:ext uri="{FF2B5EF4-FFF2-40B4-BE49-F238E27FC236}">
                  <a16:creationId xmlns:a16="http://schemas.microsoft.com/office/drawing/2014/main" id="{97C45E0F-097C-D54E-9A22-B9CF15C732AE}"/>
                </a:ext>
              </a:extLst>
            </p:cNvPr>
            <p:cNvSpPr txBox="1">
              <a:spLocks/>
            </p:cNvSpPr>
            <p:nvPr/>
          </p:nvSpPr>
          <p:spPr>
            <a:xfrm>
              <a:off x="8473798" y="4659632"/>
              <a:ext cx="1938170" cy="354881"/>
            </a:xfrm>
            <a:prstGeom prst="rect">
              <a:avLst/>
            </a:prstGeom>
          </p:spPr>
          <p:txBody>
            <a:bodyPr vert="horz" lIns="91440" tIns="45720" rIns="91440" bIns="4572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  <a:defRPr sz="2400"/>
              </a:pPr>
              <a:r>
                <a:t>Países</a:t>
              </a:r>
            </a:p>
            <a:p>
              <a:pPr marL="0" indent="0">
                <a:buFont typeface="Arial"/>
                <a:buNone/>
              </a:pPr>
              <a:endParaRPr lang="en-US" sz="1800">
                <a:solidFill>
                  <a:srgbClr val="313031"/>
                </a:solidFill>
              </a:endParaRP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ACFA6863-415F-7E51-73CA-568F029B5D0E}"/>
              </a:ext>
            </a:extLst>
          </p:cNvPr>
          <p:cNvSpPr/>
          <p:nvPr/>
        </p:nvSpPr>
        <p:spPr>
          <a:xfrm>
            <a:off x="4985657" y="0"/>
            <a:ext cx="2220686" cy="1854926"/>
          </a:xfrm>
          <a:prstGeom prst="rect">
            <a:avLst/>
          </a:prstGeom>
          <a:solidFill>
            <a:srgbClr val="F9C6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6" name="Picture 5" descr="Text  Description automatically generated">
            <a:extLst>
              <a:ext uri="{FF2B5EF4-FFF2-40B4-BE49-F238E27FC236}">
                <a16:creationId xmlns:a16="http://schemas.microsoft.com/office/drawing/2014/main" id="{62D59408-DB23-CF42-2029-4014192AE2B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22649" y="379389"/>
            <a:ext cx="1743270" cy="1096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674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D2BDDA9-AB6E-6BCB-E09E-9803C27E2FD2}"/>
              </a:ext>
            </a:extLst>
          </p:cNvPr>
          <p:cNvSpPr txBox="1">
            <a:spLocks/>
          </p:cNvSpPr>
          <p:nvPr/>
        </p:nvSpPr>
        <p:spPr>
          <a:xfrm>
            <a:off x="284372" y="3607695"/>
            <a:ext cx="6207125" cy="800116"/>
          </a:xfrm>
          <a:prstGeom prst="rect">
            <a:avLst/>
          </a:prstGeom>
        </p:spPr>
        <p:txBody>
          <a:bodyPr vert="horz" lIns="91440" tIns="45720" rIns="91440" bIns="4572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 sz="2000" spc="1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ea typeface="+mj-lt"/>
                <a:cs typeface="+mj-lt"/>
              </a:defRPr>
            </a:pPr>
            <a:r>
              <a:t>ÉLDER KIM B. CLARK</a:t>
            </a:r>
            <a:endParaRPr lang="en-US" sz="2000">
              <a:solidFill>
                <a:schemeClr val="tx2">
                  <a:lumMod val="75000"/>
                  <a:lumOff val="25000"/>
                </a:schemeClr>
              </a:solidFill>
              <a:cs typeface="Calibri" panose="020F0502020204030204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 sz="1600" i="1" spc="1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cs typeface="Calibri Light" panose="020F0302020204030204"/>
              </a:defRPr>
            </a:pPr>
            <a:r>
              <a:t>Ex Comisionado del Sistema Educativo de la Iglesi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1A5633-AA7A-14B8-7713-9258B29BC47B}"/>
              </a:ext>
            </a:extLst>
          </p:cNvPr>
          <p:cNvSpPr txBox="1"/>
          <p:nvPr/>
        </p:nvSpPr>
        <p:spPr>
          <a:xfrm>
            <a:off x="141274" y="1967224"/>
            <a:ext cx="5986580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3990" indent="-457200">
              <a:defRPr sz="2800">
                <a:solidFill>
                  <a:srgbClr val="58595B"/>
                </a:solidFill>
                <a:latin typeface="Calibri Light"/>
                <a:ea typeface="Roboto Slab Thin"/>
                <a:cs typeface="Roboto Slab Thin"/>
              </a:defRPr>
            </a:pPr>
            <a:r>
              <a:t>"Es un milagro que podamos decir hoy que BYU-Pathway es una escuela en Sion, dondequiera que esté Sion".</a:t>
            </a:r>
            <a:endParaRPr lang="en-US" sz="2800">
              <a:latin typeface="Calibri Light"/>
              <a:cs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68504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4374B5-F2B9-7340-A780-6E9CB520CA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1415" y="4854083"/>
            <a:ext cx="6207125" cy="962488"/>
          </a:xfrm>
        </p:spPr>
        <p:txBody>
          <a:bodyPr vert="horz" lIns="91440" tIns="45720" rIns="91440" bIns="45720" anchor="t">
            <a:normAutofit/>
          </a:bodyPr>
          <a:lstStyle/>
          <a:p>
            <a:pPr marL="4445">
              <a:defRPr sz="2000"/>
            </a:pPr>
            <a:r>
              <a:t>MARÍA JOSÉ MERCAU</a:t>
            </a:r>
          </a:p>
          <a:p>
            <a:pPr marL="4445">
              <a:defRPr i="1"/>
            </a:pPr>
            <a:r>
              <a:t>Argentina</a:t>
            </a:r>
            <a:endParaRPr lang="en-US">
              <a:ea typeface="Calibri Light" panose="020F0302020204030204"/>
              <a:cs typeface="Calibri Light" panose="020F0302020204030204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1A5F53-F75F-3A4C-86EF-8F17F3995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893C2FB-EF86-FD49-89EB-659751C15892}" type="slidenum">
              <a:rPr lang="en-US" smtClean="0"/>
              <a:t>24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12EB6CD-C714-4922-1388-35729F097065}"/>
              </a:ext>
            </a:extLst>
          </p:cNvPr>
          <p:cNvSpPr/>
          <p:nvPr/>
        </p:nvSpPr>
        <p:spPr>
          <a:xfrm>
            <a:off x="10479505" y="0"/>
            <a:ext cx="1712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9" name="Picture 8" descr="Text  Description automatically generated">
            <a:extLst>
              <a:ext uri="{FF2B5EF4-FFF2-40B4-BE49-F238E27FC236}">
                <a16:creationId xmlns:a16="http://schemas.microsoft.com/office/drawing/2014/main" id="{61B33F49-54C8-BF3B-A3A1-D1614056B33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849" y="298189"/>
            <a:ext cx="1313807" cy="826106"/>
          </a:xfrm>
          <a:prstGeom prst="rect">
            <a:avLst/>
          </a:prstGeom>
        </p:spPr>
      </p:pic>
      <p:pic>
        <p:nvPicPr>
          <p:cNvPr id="11" name="Picture Placeholder 10" descr="A person wearing glasses  Description automatically generated with low confidence">
            <a:extLst>
              <a:ext uri="{FF2B5EF4-FFF2-40B4-BE49-F238E27FC236}">
                <a16:creationId xmlns:a16="http://schemas.microsoft.com/office/drawing/2014/main" id="{297993C7-097B-B3D4-7543-C6CE860418A6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58149" y="952925"/>
            <a:ext cx="3527109" cy="4960571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4E20C81-273A-914E-0603-17C8EC006BC0}"/>
              </a:ext>
            </a:extLst>
          </p:cNvPr>
          <p:cNvSpPr txBox="1"/>
          <p:nvPr/>
        </p:nvSpPr>
        <p:spPr>
          <a:xfrm>
            <a:off x="5245416" y="1596232"/>
            <a:ext cx="5958830" cy="31085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3990" indent="-457200">
              <a:defRPr sz="2800">
                <a:solidFill>
                  <a:srgbClr val="58595B"/>
                </a:solidFill>
                <a:latin typeface="Calibri Light"/>
                <a:ea typeface="Roboto Slab Thin"/>
                <a:cs typeface="Roboto Slab Thin"/>
              </a:defRPr>
            </a:pPr>
            <a:r>
              <a:t>"</a:t>
            </a:r>
            <a:r>
              <a:rPr lang="en-US" err="1"/>
              <a:t>Debido</a:t>
            </a:r>
            <a:r>
              <a:t> a la </a:t>
            </a:r>
            <a:r>
              <a:rPr lang="en-US" err="1"/>
              <a:t>pandemia</a:t>
            </a:r>
            <a:r>
              <a:t>, </a:t>
            </a:r>
            <a:r>
              <a:rPr lang="en-US" err="1"/>
              <a:t>perdí</a:t>
            </a:r>
            <a:r>
              <a:t> mi </a:t>
            </a:r>
            <a:r>
              <a:rPr lang="en-US" err="1"/>
              <a:t>trabajo</a:t>
            </a:r>
            <a:r>
              <a:t>. </a:t>
            </a:r>
            <a:r>
              <a:rPr lang="en-US" err="1"/>
              <a:t>Decidí</a:t>
            </a:r>
            <a:r>
              <a:t> </a:t>
            </a:r>
            <a:r>
              <a:rPr lang="en-US" err="1"/>
              <a:t>sacar</a:t>
            </a:r>
            <a:r>
              <a:t> lo </a:t>
            </a:r>
            <a:r>
              <a:rPr lang="en-US" err="1"/>
              <a:t>mejor</a:t>
            </a:r>
            <a:r>
              <a:t> de la </a:t>
            </a:r>
            <a:r>
              <a:rPr lang="en-US" err="1"/>
              <a:t>situación</a:t>
            </a:r>
            <a:r>
              <a:t> </a:t>
            </a:r>
            <a:r>
              <a:rPr lang="en-US" err="1"/>
              <a:t>comenzando</a:t>
            </a:r>
            <a:r>
              <a:t> </a:t>
            </a:r>
            <a:r>
              <a:rPr lang="en-US" err="1"/>
              <a:t>una</a:t>
            </a:r>
            <a:r>
              <a:t> </a:t>
            </a:r>
            <a:r>
              <a:rPr lang="en-US" err="1"/>
              <a:t>nueva</a:t>
            </a:r>
            <a:r>
              <a:t> </a:t>
            </a:r>
            <a:r>
              <a:rPr lang="en-US" err="1"/>
              <a:t>carrera</a:t>
            </a:r>
            <a:r>
              <a:t> y </a:t>
            </a:r>
            <a:r>
              <a:rPr lang="en-US" err="1"/>
              <a:t>estudiando</a:t>
            </a:r>
            <a:r>
              <a:t> </a:t>
            </a:r>
            <a:r>
              <a:rPr lang="en-US" err="1"/>
              <a:t>en</a:t>
            </a:r>
            <a:r>
              <a:t> BYU-Pathway. </a:t>
            </a:r>
            <a:r>
              <a:rPr lang="en-US" err="1"/>
              <a:t>Ahora</a:t>
            </a:r>
            <a:r>
              <a:t> soy </a:t>
            </a:r>
            <a:r>
              <a:rPr lang="en-US" err="1"/>
              <a:t>agente</a:t>
            </a:r>
            <a:r>
              <a:t> de </a:t>
            </a:r>
            <a:r>
              <a:rPr lang="en-US" err="1"/>
              <a:t>asistencia</a:t>
            </a:r>
            <a:r>
              <a:t> TI a </a:t>
            </a:r>
            <a:r>
              <a:rPr lang="en-US" err="1"/>
              <a:t>tiempo</a:t>
            </a:r>
            <a:r>
              <a:t> </a:t>
            </a:r>
            <a:r>
              <a:rPr lang="en-US" err="1"/>
              <a:t>completo</a:t>
            </a:r>
            <a:r>
              <a:t>, </a:t>
            </a:r>
            <a:r>
              <a:rPr lang="en-US" err="1"/>
              <a:t>ganando</a:t>
            </a:r>
            <a:r>
              <a:t> </a:t>
            </a:r>
            <a:r>
              <a:rPr lang="en-US" err="1"/>
              <a:t>más</a:t>
            </a:r>
            <a:r>
              <a:t> del doble </a:t>
            </a:r>
            <a:r>
              <a:rPr lang="en-US" err="1"/>
              <a:t>trabajando</a:t>
            </a:r>
            <a:r>
              <a:t> </a:t>
            </a:r>
            <a:r>
              <a:rPr lang="en-US" err="1"/>
              <a:t>desde</a:t>
            </a:r>
            <a:r>
              <a:t> casa</a:t>
            </a:r>
            <a:r>
              <a:rPr lang="en-US"/>
              <a:t>".</a:t>
            </a:r>
            <a:endParaRPr lang="en-US">
              <a:latin typeface="Calibri Light"/>
              <a:cs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626650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4374B5-F2B9-7340-A780-6E9CB520CA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60634" y="4622778"/>
            <a:ext cx="6207125" cy="962488"/>
          </a:xfrm>
        </p:spPr>
        <p:txBody>
          <a:bodyPr vert="horz" lIns="91440" tIns="45720" rIns="91440" bIns="45720" anchor="t">
            <a:normAutofit/>
          </a:bodyPr>
          <a:lstStyle/>
          <a:p>
            <a:pPr marL="4445">
              <a:defRPr sz="2000">
                <a:ea typeface="+mj-lt"/>
                <a:cs typeface="+mj-lt"/>
              </a:defRPr>
            </a:pPr>
            <a:r>
              <a:t>ALLISON MICKELSON</a:t>
            </a:r>
            <a:endParaRPr lang="en-US" sz="2000"/>
          </a:p>
          <a:p>
            <a:pPr marL="4445">
              <a:defRPr i="1">
                <a:cs typeface="Calibri Light" panose="020F0302020204030204"/>
              </a:defRPr>
            </a:pPr>
            <a:r>
              <a:t>ESTADOS UNIDOS</a:t>
            </a:r>
            <a:endParaRPr lang="en-US" i="1">
              <a:ea typeface="Calibri Light"/>
              <a:cs typeface="Calibri Light" panose="020F0302020204030204"/>
            </a:endParaRPr>
          </a:p>
          <a:p>
            <a:pPr marL="4445"/>
            <a:endParaRPr lang="en-US">
              <a:cs typeface="Calibri Light" panose="020F0302020204030204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1A5F53-F75F-3A4C-86EF-8F17F3995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893C2FB-EF86-FD49-89EB-659751C15892}" type="slidenum">
              <a:rPr lang="en-US" smtClean="0"/>
              <a:t>25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12EB6CD-C714-4922-1388-35729F097065}"/>
              </a:ext>
            </a:extLst>
          </p:cNvPr>
          <p:cNvSpPr/>
          <p:nvPr/>
        </p:nvSpPr>
        <p:spPr>
          <a:xfrm>
            <a:off x="10479505" y="0"/>
            <a:ext cx="1712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9" name="Picture 8" descr="Text  Description automatically generated">
            <a:extLst>
              <a:ext uri="{FF2B5EF4-FFF2-40B4-BE49-F238E27FC236}">
                <a16:creationId xmlns:a16="http://schemas.microsoft.com/office/drawing/2014/main" id="{61B33F49-54C8-BF3B-A3A1-D1614056B33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849" y="298189"/>
            <a:ext cx="1313807" cy="826106"/>
          </a:xfrm>
          <a:prstGeom prst="rect">
            <a:avLst/>
          </a:prstGeom>
        </p:spPr>
      </p:pic>
      <p:pic>
        <p:nvPicPr>
          <p:cNvPr id="2" name="Picture 5" descr="A person wearing a graduation cap and gown  Description automatically generated">
            <a:extLst>
              <a:ext uri="{FF2B5EF4-FFF2-40B4-BE49-F238E27FC236}">
                <a16:creationId xmlns:a16="http://schemas.microsoft.com/office/drawing/2014/main" id="{7E232541-522F-A524-6E49-76D26F1E021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194" t="382" r="38160" b="255"/>
          <a:stretch/>
        </p:blipFill>
        <p:spPr>
          <a:xfrm>
            <a:off x="1107991" y="971990"/>
            <a:ext cx="3531051" cy="49085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2D8B01B-E85A-CFCC-0B85-4D1CC7F40238}"/>
              </a:ext>
            </a:extLst>
          </p:cNvPr>
          <p:cNvSpPr txBox="1"/>
          <p:nvPr/>
        </p:nvSpPr>
        <p:spPr>
          <a:xfrm>
            <a:off x="5289777" y="1929138"/>
            <a:ext cx="6315684" cy="26776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3990" indent="-457200">
              <a:defRPr sz="2800">
                <a:solidFill>
                  <a:srgbClr val="58595B"/>
                </a:solidFill>
                <a:latin typeface="Calibri Light"/>
                <a:ea typeface="Roboto Slab Thin"/>
                <a:cs typeface="Calibri Light"/>
              </a:defRPr>
            </a:pPr>
            <a:r>
              <a:t>"Esto era </a:t>
            </a:r>
            <a:r>
              <a:rPr err="1"/>
              <a:t>exactamente</a:t>
            </a:r>
            <a:r>
              <a:t> lo que </a:t>
            </a:r>
            <a:r>
              <a:rPr err="1"/>
              <a:t>necesitaba</a:t>
            </a:r>
            <a:r>
              <a:t> para </a:t>
            </a:r>
            <a:r>
              <a:rPr err="1"/>
              <a:t>ganar</a:t>
            </a:r>
            <a:r>
              <a:t> </a:t>
            </a:r>
            <a:r>
              <a:rPr err="1"/>
              <a:t>confianza</a:t>
            </a:r>
            <a:r>
              <a:t> y </a:t>
            </a:r>
            <a:r>
              <a:rPr err="1"/>
              <a:t>demostrar</a:t>
            </a:r>
            <a:r>
              <a:t> que </a:t>
            </a:r>
            <a:r>
              <a:rPr err="1"/>
              <a:t>podía</a:t>
            </a:r>
            <a:r>
              <a:t> </a:t>
            </a:r>
            <a:r>
              <a:rPr err="1"/>
              <a:t>trabajar</a:t>
            </a:r>
            <a:r>
              <a:t> </a:t>
            </a:r>
            <a:r>
              <a:rPr err="1"/>
              <a:t>profesionalmente</a:t>
            </a:r>
            <a:r>
              <a:t>.</a:t>
            </a:r>
            <a:r>
              <a:rPr lang="en-US"/>
              <a:t> </a:t>
            </a:r>
            <a:r>
              <a:t>Me </a:t>
            </a:r>
            <a:r>
              <a:rPr err="1"/>
              <a:t>redescubrí</a:t>
            </a:r>
            <a:r>
              <a:t> a </a:t>
            </a:r>
            <a:r>
              <a:rPr err="1"/>
              <a:t>mí</a:t>
            </a:r>
            <a:r>
              <a:t> </a:t>
            </a:r>
            <a:r>
              <a:rPr err="1"/>
              <a:t>misma.Mis</a:t>
            </a:r>
            <a:r>
              <a:t> </a:t>
            </a:r>
            <a:r>
              <a:rPr err="1"/>
              <a:t>hijos</a:t>
            </a:r>
            <a:r>
              <a:t> </a:t>
            </a:r>
            <a:r>
              <a:rPr err="1"/>
              <a:t>vieron</a:t>
            </a:r>
            <a:r>
              <a:t> que, </a:t>
            </a:r>
            <a:r>
              <a:rPr err="1"/>
              <a:t>cuando</a:t>
            </a:r>
            <a:r>
              <a:t> </a:t>
            </a:r>
            <a:r>
              <a:rPr err="1"/>
              <a:t>te</a:t>
            </a:r>
            <a:r>
              <a:t> lo propones, </a:t>
            </a:r>
            <a:r>
              <a:rPr err="1"/>
              <a:t>puedes</a:t>
            </a:r>
            <a:r>
              <a:t> </a:t>
            </a:r>
            <a:r>
              <a:rPr err="1"/>
              <a:t>hacer</a:t>
            </a:r>
            <a:r>
              <a:t> </a:t>
            </a:r>
            <a:r>
              <a:rPr err="1"/>
              <a:t>cualquier</a:t>
            </a:r>
            <a:r>
              <a:t> </a:t>
            </a:r>
            <a:r>
              <a:rPr err="1"/>
              <a:t>cosa</a:t>
            </a:r>
            <a:r>
              <a:t>"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508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4374B5-F2B9-7340-A780-6E9CB520CA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60225" y="5175300"/>
            <a:ext cx="6207125" cy="962488"/>
          </a:xfrm>
        </p:spPr>
        <p:txBody>
          <a:bodyPr vert="horz" lIns="91440" tIns="45720" rIns="91440" bIns="45720" anchor="t">
            <a:normAutofit/>
          </a:bodyPr>
          <a:lstStyle/>
          <a:p>
            <a:pPr marL="4445">
              <a:defRPr sz="2000"/>
            </a:pPr>
            <a:r>
              <a:t>EKPENYONG ETIM</a:t>
            </a:r>
          </a:p>
          <a:p>
            <a:pPr marL="4445">
              <a:defRPr i="1"/>
            </a:pPr>
            <a:r>
              <a:t>Nigeria</a:t>
            </a:r>
            <a:endParaRPr lang="en-US">
              <a:ea typeface="Calibri Light" panose="020F0302020204030204"/>
              <a:cs typeface="Calibri Light" panose="020F0302020204030204"/>
            </a:endParaRPr>
          </a:p>
          <a:p>
            <a:pPr marL="4445"/>
            <a:endParaRPr lang="en-US">
              <a:ea typeface="Calibri Light" panose="020F0302020204030204"/>
              <a:cs typeface="Calibri Light" panose="020F0302020204030204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1A5F53-F75F-3A4C-86EF-8F17F3995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893C2FB-EF86-FD49-89EB-659751C15892}" type="slidenum">
              <a:rPr lang="en-US" smtClean="0"/>
              <a:t>26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12EB6CD-C714-4922-1388-35729F097065}"/>
              </a:ext>
            </a:extLst>
          </p:cNvPr>
          <p:cNvSpPr/>
          <p:nvPr/>
        </p:nvSpPr>
        <p:spPr>
          <a:xfrm>
            <a:off x="10479505" y="0"/>
            <a:ext cx="1712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9" name="Picture 8" descr="Text  Description automatically generated">
            <a:extLst>
              <a:ext uri="{FF2B5EF4-FFF2-40B4-BE49-F238E27FC236}">
                <a16:creationId xmlns:a16="http://schemas.microsoft.com/office/drawing/2014/main" id="{61B33F49-54C8-BF3B-A3A1-D1614056B33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849" y="298189"/>
            <a:ext cx="1313807" cy="826106"/>
          </a:xfrm>
          <a:prstGeom prst="rect">
            <a:avLst/>
          </a:prstGeom>
        </p:spPr>
      </p:pic>
      <p:pic>
        <p:nvPicPr>
          <p:cNvPr id="10" name="Picture Placeholder 9" descr="A picture containing person, yellow, sitting, wall  Description automatically generated">
            <a:extLst>
              <a:ext uri="{FF2B5EF4-FFF2-40B4-BE49-F238E27FC236}">
                <a16:creationId xmlns:a16="http://schemas.microsoft.com/office/drawing/2014/main" id="{750707BF-418E-3DFA-86B4-6B15241A2016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6392" y="962067"/>
            <a:ext cx="3524425" cy="493386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9C67372-16C7-8323-2094-418D5E879626}"/>
              </a:ext>
            </a:extLst>
          </p:cNvPr>
          <p:cNvSpPr txBox="1"/>
          <p:nvPr/>
        </p:nvSpPr>
        <p:spPr>
          <a:xfrm>
            <a:off x="5590848" y="1745176"/>
            <a:ext cx="5613215" cy="39703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3990" indent="-457200">
              <a:defRPr sz="2800">
                <a:solidFill>
                  <a:srgbClr val="58595B"/>
                </a:solidFill>
                <a:latin typeface="Calibri Light"/>
                <a:ea typeface="Roboto Slab Thin"/>
                <a:cs typeface="Roboto Slab Thin"/>
              </a:defRPr>
            </a:pPr>
            <a:r>
              <a:t>"BYU-Pathway y [mi </a:t>
            </a:r>
            <a:r>
              <a:rPr lang="en-US" err="1"/>
              <a:t>trabajo</a:t>
            </a:r>
            <a:r>
              <a:t> </a:t>
            </a:r>
            <a:r>
              <a:rPr lang="en-US" err="1"/>
              <a:t>remoto</a:t>
            </a:r>
            <a:r>
              <a:t>] me </a:t>
            </a:r>
            <a:r>
              <a:rPr lang="en-US" err="1"/>
              <a:t>han</a:t>
            </a:r>
            <a:r>
              <a:t> dado </a:t>
            </a:r>
            <a:r>
              <a:rPr lang="en-US" err="1"/>
              <a:t>esperanza</a:t>
            </a:r>
            <a:r>
              <a:t>. Nigeria </a:t>
            </a:r>
            <a:r>
              <a:rPr lang="en-US" err="1"/>
              <a:t>está</a:t>
            </a:r>
            <a:r>
              <a:t> </a:t>
            </a:r>
            <a:r>
              <a:rPr lang="en-US" err="1"/>
              <a:t>experimentando</a:t>
            </a:r>
            <a:r>
              <a:t> la </a:t>
            </a:r>
            <a:r>
              <a:rPr lang="en-US" err="1"/>
              <a:t>peor</a:t>
            </a:r>
            <a:r>
              <a:t> </a:t>
            </a:r>
            <a:r>
              <a:rPr lang="en-US" err="1"/>
              <a:t>inflación</a:t>
            </a:r>
            <a:r>
              <a:rPr lang="en-US"/>
              <a:t>. </a:t>
            </a:r>
            <a:r>
              <a:rPr lang="en-US" err="1"/>
              <a:t>Ahora</a:t>
            </a:r>
            <a:r>
              <a:t> </a:t>
            </a:r>
            <a:r>
              <a:rPr lang="en-US" err="1"/>
              <a:t>gano</a:t>
            </a:r>
            <a:r>
              <a:t> </a:t>
            </a:r>
            <a:r>
              <a:rPr lang="en-US" err="1"/>
              <a:t>el</a:t>
            </a:r>
            <a:r>
              <a:t> doble de lo que </a:t>
            </a:r>
            <a:r>
              <a:rPr lang="en-US" err="1"/>
              <a:t>ganaba</a:t>
            </a:r>
            <a:r>
              <a:t> antes. Paso </a:t>
            </a:r>
            <a:r>
              <a:rPr lang="en-US" err="1"/>
              <a:t>más</a:t>
            </a:r>
            <a:r>
              <a:t> </a:t>
            </a:r>
            <a:r>
              <a:rPr lang="en-US" err="1"/>
              <a:t>tiempo</a:t>
            </a:r>
            <a:r>
              <a:t> </a:t>
            </a:r>
            <a:r>
              <a:rPr lang="en-US" err="1"/>
              <a:t>en</a:t>
            </a:r>
            <a:r>
              <a:t> casa, y </a:t>
            </a:r>
            <a:r>
              <a:rPr lang="en-US" err="1"/>
              <a:t>esto</a:t>
            </a:r>
            <a:r>
              <a:t> ha </a:t>
            </a:r>
            <a:r>
              <a:rPr lang="en-US" err="1"/>
              <a:t>fortalecido</a:t>
            </a:r>
            <a:r>
              <a:t> mis </a:t>
            </a:r>
            <a:r>
              <a:rPr lang="en-US" err="1"/>
              <a:t>relaciones</a:t>
            </a:r>
            <a:r>
              <a:t> </a:t>
            </a:r>
            <a:r>
              <a:rPr lang="en-US" err="1"/>
              <a:t>familiares</a:t>
            </a:r>
            <a:r>
              <a:t>".</a:t>
            </a:r>
            <a:br>
              <a:rPr lang="en-US"/>
            </a:br>
            <a:br>
              <a:rPr lang="en-US">
                <a:latin typeface="Calibri Light"/>
                <a:cs typeface="Roboto Slab Thin"/>
              </a:rPr>
            </a:br>
            <a:endParaRPr lang="en-US">
              <a:latin typeface="Calibri Light"/>
              <a:cs typeface="Roboto Slab Thin"/>
            </a:endParaRPr>
          </a:p>
        </p:txBody>
      </p:sp>
    </p:spTree>
    <p:extLst>
      <p:ext uri="{BB962C8B-B14F-4D97-AF65-F5344CB8AC3E}">
        <p14:creationId xmlns:p14="http://schemas.microsoft.com/office/powerpoint/2010/main" val="2744313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C7C379-95DF-CF47-A718-FA0F19C84F9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96528" y="6355080"/>
            <a:ext cx="2743200" cy="365125"/>
          </a:xfrm>
        </p:spPr>
        <p:txBody>
          <a:bodyPr/>
          <a:lstStyle/>
          <a:p>
            <a:fld id="{8893C2FB-EF86-FD49-89EB-659751C15892}" type="slidenum">
              <a:rPr lang="en-US" smtClean="0"/>
              <a:t>27</a:t>
            </a:fld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D9F19DE-3952-F044-B320-A0E2F533E279}"/>
              </a:ext>
            </a:extLst>
          </p:cNvPr>
          <p:cNvSpPr txBox="1"/>
          <p:nvPr/>
        </p:nvSpPr>
        <p:spPr>
          <a:xfrm>
            <a:off x="785369" y="2774426"/>
            <a:ext cx="32723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400" b="1">
                <a:solidFill>
                  <a:schemeClr val="bg1"/>
                </a:solidFill>
              </a:defRPr>
            </a:pPr>
            <a:r>
              <a:t>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2544AEE-9FDC-214D-8A9F-476D5C29C398}"/>
              </a:ext>
            </a:extLst>
          </p:cNvPr>
          <p:cNvSpPr/>
          <p:nvPr/>
        </p:nvSpPr>
        <p:spPr>
          <a:xfrm>
            <a:off x="0" y="372790"/>
            <a:ext cx="4340506" cy="947058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E1815725-512E-9048-88FA-51D8CFFF78C2}"/>
              </a:ext>
            </a:extLst>
          </p:cNvPr>
          <p:cNvSpPr txBox="1">
            <a:spLocks/>
          </p:cNvSpPr>
          <p:nvPr/>
        </p:nvSpPr>
        <p:spPr>
          <a:xfrm>
            <a:off x="633912" y="645557"/>
            <a:ext cx="7342776" cy="616404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 sz="2800" b="1" spc="90">
                <a:solidFill>
                  <a:schemeClr val="tx2">
                    <a:lumMod val="90000"/>
                    <a:lumOff val="10000"/>
                  </a:schemeClr>
                </a:solidFill>
              </a:defRPr>
            </a:pPr>
            <a:r>
              <a:t>FECHAS Y PLAZOS</a:t>
            </a:r>
            <a:endParaRPr lang="en-US" sz="2400" b="1" spc="9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0A6B640-4DBB-934E-8C59-733B3773CBFA}"/>
              </a:ext>
            </a:extLst>
          </p:cNvPr>
          <p:cNvSpPr/>
          <p:nvPr/>
        </p:nvSpPr>
        <p:spPr>
          <a:xfrm>
            <a:off x="1703564" y="1965405"/>
            <a:ext cx="27386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2400"/>
            </a:pPr>
            <a:r>
              <a:t>Último día para aplicar: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E254706-AC2D-5842-8B5B-C55CDE74DF5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75353" y="0"/>
            <a:ext cx="5216647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1E4B2CF-DF77-B743-9DB9-1181D7EEA911}"/>
              </a:ext>
            </a:extLst>
          </p:cNvPr>
          <p:cNvSpPr/>
          <p:nvPr/>
        </p:nvSpPr>
        <p:spPr>
          <a:xfrm>
            <a:off x="1703565" y="2774426"/>
            <a:ext cx="5462088" cy="58477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defRPr sz="3200" b="1">
                <a:solidFill>
                  <a:srgbClr val="3A929D"/>
                </a:solidFill>
                <a:cs typeface="Calibri"/>
              </a:defRPr>
            </a:pPr>
            <a:r>
              <a:t>22 de </a:t>
            </a:r>
            <a:r>
              <a:rPr lang="en-US" err="1"/>
              <a:t>agosto</a:t>
            </a:r>
            <a:endParaRPr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8C23890-11F5-564B-88D0-051E87283A37}"/>
              </a:ext>
            </a:extLst>
          </p:cNvPr>
          <p:cNvSpPr/>
          <p:nvPr/>
        </p:nvSpPr>
        <p:spPr>
          <a:xfrm>
            <a:off x="1703564" y="3746703"/>
            <a:ext cx="27386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2400"/>
            </a:pPr>
            <a:r>
              <a:t>Primer día de clases: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CC0D360-1E86-F44D-8621-2BA1C1618D67}"/>
              </a:ext>
            </a:extLst>
          </p:cNvPr>
          <p:cNvSpPr/>
          <p:nvPr/>
        </p:nvSpPr>
        <p:spPr>
          <a:xfrm>
            <a:off x="1703565" y="4208368"/>
            <a:ext cx="5462088" cy="58477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defRPr sz="3200" b="1">
                <a:solidFill>
                  <a:srgbClr val="3A929D"/>
                </a:solidFill>
                <a:latin typeface="Calibri"/>
                <a:cs typeface="Calibri"/>
              </a:defRPr>
            </a:pPr>
            <a:r>
              <a:t>11 de septiembre</a:t>
            </a:r>
            <a:endParaRPr lang="en-US" sz="32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0BE3916-5C63-E547-B89C-E98650B57F7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3911" y="2040532"/>
            <a:ext cx="842467" cy="842467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D4F24F43-F35B-784B-AEB5-1A12AEAD53D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8182" y="3822602"/>
            <a:ext cx="993924" cy="993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910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person wearing a suit and tie  Description automatically generated">
            <a:extLst>
              <a:ext uri="{FF2B5EF4-FFF2-40B4-BE49-F238E27FC236}">
                <a16:creationId xmlns:a16="http://schemas.microsoft.com/office/drawing/2014/main" id="{04CA73B0-D905-7B41-B8F3-EBCC862C0B02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4374B5-F2B9-7340-A780-6E9CB520CA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72166" y="4373093"/>
            <a:ext cx="6207125" cy="962488"/>
          </a:xfrm>
        </p:spPr>
        <p:txBody>
          <a:bodyPr vert="horz" lIns="91440" tIns="45720" rIns="91440" bIns="45720" anchor="t">
            <a:normAutofit/>
          </a:bodyPr>
          <a:lstStyle/>
          <a:p>
            <a:pPr marL="4445">
              <a:defRPr sz="2000"/>
            </a:pPr>
            <a:r>
              <a:t>PRESIDENTE RUSSELL M. NELSON</a:t>
            </a:r>
          </a:p>
          <a:p>
            <a:pPr marL="4445">
              <a:defRPr i="1">
                <a:ea typeface="+mj-lt"/>
                <a:cs typeface="+mj-lt"/>
              </a:defRPr>
            </a:pPr>
            <a:r>
              <a:t>"Education: A Religious Responsibility" (BYU-Idaho </a:t>
            </a:r>
            <a:br>
              <a:rPr lang="en-US" i="1">
                <a:ea typeface="+mj-lt"/>
                <a:cs typeface="+mj-lt"/>
              </a:rPr>
            </a:br>
            <a:r>
              <a:t>Devotional, Jan. 26, 2010), byui.edu/speeches</a:t>
            </a:r>
            <a:endParaRPr lang="en-US" i="1">
              <a:cs typeface="Calibri Light"/>
            </a:endParaRPr>
          </a:p>
          <a:p>
            <a:pPr marL="4445"/>
            <a:endParaRPr lang="en-US">
              <a:cs typeface="Calibri Light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1A5F53-F75F-3A4C-86EF-8F17F3995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893C2FB-EF86-FD49-89EB-659751C15892}" type="slidenum">
              <a:rPr lang="en-US" smtClean="0"/>
              <a:t>28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12EB6CD-C714-4922-1388-35729F097065}"/>
              </a:ext>
            </a:extLst>
          </p:cNvPr>
          <p:cNvSpPr/>
          <p:nvPr/>
        </p:nvSpPr>
        <p:spPr>
          <a:xfrm>
            <a:off x="10479505" y="0"/>
            <a:ext cx="1712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9" name="Picture 8" descr="Text  Description automatically generated">
            <a:extLst>
              <a:ext uri="{FF2B5EF4-FFF2-40B4-BE49-F238E27FC236}">
                <a16:creationId xmlns:a16="http://schemas.microsoft.com/office/drawing/2014/main" id="{61B33F49-54C8-BF3B-A3A1-D1614056B33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849" y="298189"/>
            <a:ext cx="1313807" cy="82610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3E8FC40-0B31-F231-63AD-89B6AE3C938A}"/>
              </a:ext>
            </a:extLst>
          </p:cNvPr>
          <p:cNvSpPr txBox="1"/>
          <p:nvPr/>
        </p:nvSpPr>
        <p:spPr>
          <a:xfrm>
            <a:off x="5103412" y="1844273"/>
            <a:ext cx="5650933" cy="22467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3990" indent="-457200">
              <a:defRPr sz="2800">
                <a:solidFill>
                  <a:srgbClr val="58595B"/>
                </a:solidFill>
                <a:latin typeface="Calibri Light"/>
                <a:ea typeface="Roboto Slab Thin"/>
                <a:cs typeface="Roboto Slab Thin"/>
              </a:defRPr>
            </a:pPr>
            <a:r>
              <a:t>"Obtén toda la educación que puedas. Para nosotros, como Santos de los Últimos Días, obtener una educación no es solo un privilegio, es una responsabilidad religiosa".</a:t>
            </a:r>
            <a:endParaRPr lang="en-US">
              <a:latin typeface="Calibri Light"/>
            </a:endParaRPr>
          </a:p>
        </p:txBody>
      </p:sp>
      <p:pic>
        <p:nvPicPr>
          <p:cNvPr id="3" name="Picture Placeholder 6" descr="A person in a suit and tie  Description automatically generated">
            <a:extLst>
              <a:ext uri="{FF2B5EF4-FFF2-40B4-BE49-F238E27FC236}">
                <a16:creationId xmlns:a16="http://schemas.microsoft.com/office/drawing/2014/main" id="{37F7F11C-DF47-5D8F-B863-0DB9B3377F4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9407" y="963936"/>
            <a:ext cx="3534234" cy="4930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33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erson in the air  Description automatically generated with low confidence">
            <a:extLst>
              <a:ext uri="{FF2B5EF4-FFF2-40B4-BE49-F238E27FC236}">
                <a16:creationId xmlns:a16="http://schemas.microsoft.com/office/drawing/2014/main" id="{0C24D7C2-3DDE-38EC-8DA6-B2742EF299B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372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8132E28-F006-C04A-B3E1-A5C743809351}"/>
              </a:ext>
            </a:extLst>
          </p:cNvPr>
          <p:cNvSpPr/>
          <p:nvPr/>
        </p:nvSpPr>
        <p:spPr>
          <a:xfrm>
            <a:off x="7031157" y="4045309"/>
            <a:ext cx="4013185" cy="180834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67781" dist="113238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A1C276B-2A33-C049-AEF8-5AF88AD11664}"/>
              </a:ext>
            </a:extLst>
          </p:cNvPr>
          <p:cNvSpPr txBox="1">
            <a:spLocks/>
          </p:cNvSpPr>
          <p:nvPr/>
        </p:nvSpPr>
        <p:spPr>
          <a:xfrm>
            <a:off x="5776936" y="1021167"/>
            <a:ext cx="5493504" cy="616404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 sz="4400">
                <a:latin typeface="+mj-lt"/>
              </a:defRPr>
            </a:pPr>
            <a:r>
              <a:t>Obtenga un título </a:t>
            </a:r>
            <a:r>
              <a:rPr i="1"/>
              <a:t>y</a:t>
            </a:r>
            <a:r>
              <a:t> construya su f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198D0CB-A244-3645-93EF-5E47B40A5F95}"/>
              </a:ext>
            </a:extLst>
          </p:cNvPr>
          <p:cNvSpPr/>
          <p:nvPr/>
        </p:nvSpPr>
        <p:spPr>
          <a:xfrm>
            <a:off x="5817277" y="2370421"/>
            <a:ext cx="6069114" cy="81855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10000"/>
              </a:lnSpc>
              <a:defRPr sz="2200"/>
            </a:pPr>
            <a:r>
              <a:t>Los </a:t>
            </a:r>
            <a:r>
              <a:rPr err="1"/>
              <a:t>cursos</a:t>
            </a:r>
            <a:r>
              <a:t> </a:t>
            </a:r>
            <a:r>
              <a:rPr err="1"/>
              <a:t>incorporan</a:t>
            </a:r>
            <a:r>
              <a:t> </a:t>
            </a:r>
            <a:r>
              <a:rPr err="1"/>
              <a:t>enseñanzas</a:t>
            </a:r>
            <a:r>
              <a:t> de las </a:t>
            </a:r>
            <a:br>
              <a:rPr lang="en-US"/>
            </a:br>
            <a:r>
              <a:rPr lang="en-US" err="1"/>
              <a:t>escrituras</a:t>
            </a:r>
            <a:r>
              <a:rPr lang="en-US"/>
              <a:t>, </a:t>
            </a:r>
            <a:r>
              <a:rPr lang="en-US" err="1"/>
              <a:t>los</a:t>
            </a:r>
            <a:r>
              <a:t> </a:t>
            </a:r>
            <a:r>
              <a:rPr err="1"/>
              <a:t>profetas</a:t>
            </a:r>
            <a:r>
              <a:t> y </a:t>
            </a:r>
            <a:r>
              <a:rPr err="1"/>
              <a:t>apóstoles</a:t>
            </a:r>
            <a:r>
              <a:t> </a:t>
            </a:r>
            <a:r>
              <a:rPr err="1"/>
              <a:t>modernos</a:t>
            </a:r>
            <a:r>
              <a:t>.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E37CED92-DBCC-1640-8DAC-D345BD6E21EC}"/>
              </a:ext>
            </a:extLst>
          </p:cNvPr>
          <p:cNvGraphicFramePr/>
          <p:nvPr/>
        </p:nvGraphicFramePr>
        <p:xfrm>
          <a:off x="3637519" y="3398138"/>
          <a:ext cx="4803515" cy="3202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44D150-ABF4-D14A-BE79-37F452EC4044}"/>
              </a:ext>
            </a:extLst>
          </p:cNvPr>
          <p:cNvSpPr/>
          <p:nvPr/>
        </p:nvSpPr>
        <p:spPr>
          <a:xfrm>
            <a:off x="7632081" y="4242569"/>
            <a:ext cx="3347726" cy="132343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defRPr sz="2000">
                <a:solidFill>
                  <a:schemeClr val="tx2">
                    <a:lumMod val="90000"/>
                    <a:lumOff val="10000"/>
                  </a:schemeClr>
                </a:solidFill>
              </a:defRPr>
            </a:pPr>
            <a:r>
              <a:rPr lang="en-US" err="1"/>
              <a:t>Estudiantes</a:t>
            </a:r>
            <a:r>
              <a:t> </a:t>
            </a:r>
            <a:r>
              <a:rPr err="1"/>
              <a:t>dicen</a:t>
            </a:r>
            <a:r>
              <a:t> que </a:t>
            </a:r>
            <a:r>
              <a:rPr err="1"/>
              <a:t>su</a:t>
            </a:r>
            <a:r>
              <a:t> </a:t>
            </a:r>
            <a:r>
              <a:rPr err="1"/>
              <a:t>participación</a:t>
            </a:r>
            <a:r>
              <a:t> </a:t>
            </a:r>
            <a:r>
              <a:rPr err="1"/>
              <a:t>en</a:t>
            </a:r>
            <a:r>
              <a:t> BYU-Pathway </a:t>
            </a:r>
            <a:r>
              <a:rPr err="1"/>
              <a:t>aumentó</a:t>
            </a:r>
            <a:r>
              <a:t> </a:t>
            </a:r>
            <a:r>
              <a:rPr err="1"/>
              <a:t>su</a:t>
            </a:r>
            <a:r>
              <a:t> </a:t>
            </a:r>
            <a:r>
              <a:rPr err="1"/>
              <a:t>fe</a:t>
            </a:r>
            <a:r>
              <a:t> y </a:t>
            </a:r>
            <a:r>
              <a:rPr err="1"/>
              <a:t>su</a:t>
            </a:r>
            <a:r>
              <a:t> testimonio del Salvador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74E7AF-188C-AF4F-968A-A0D4F902100F}"/>
              </a:ext>
            </a:extLst>
          </p:cNvPr>
          <p:cNvSpPr txBox="1"/>
          <p:nvPr/>
        </p:nvSpPr>
        <p:spPr>
          <a:xfrm>
            <a:off x="5458387" y="4484931"/>
            <a:ext cx="1337226" cy="101566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6000" b="1">
                <a:solidFill>
                  <a:schemeClr val="tx2"/>
                </a:solidFill>
              </a:defRPr>
            </a:pPr>
            <a:r>
              <a:t>91</a:t>
            </a:r>
            <a:r>
              <a:rPr baseline="30000"/>
              <a:t>%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F8E096EE-E63F-BE4A-B6D5-A6E2C2504AF8}"/>
              </a:ext>
            </a:extLst>
          </p:cNvPr>
          <p:cNvSpPr txBox="1">
            <a:spLocks/>
          </p:cNvSpPr>
          <p:nvPr/>
        </p:nvSpPr>
        <p:spPr>
          <a:xfrm>
            <a:off x="879652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93C2FB-EF86-FD49-89EB-659751C15892}" type="slidenum">
              <a:rPr lang="en-US" smtClean="0"/>
              <a:t>2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6D66543-65E8-8415-9DC1-D9C573BBB2BC}"/>
              </a:ext>
            </a:extLst>
          </p:cNvPr>
          <p:cNvSpPr/>
          <p:nvPr/>
        </p:nvSpPr>
        <p:spPr>
          <a:xfrm>
            <a:off x="10479505" y="0"/>
            <a:ext cx="1712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11" name="Picture 10" descr="Text  Description automatically generated">
            <a:extLst>
              <a:ext uri="{FF2B5EF4-FFF2-40B4-BE49-F238E27FC236}">
                <a16:creationId xmlns:a16="http://schemas.microsoft.com/office/drawing/2014/main" id="{21E8DC26-5179-2706-5334-776F7116AB7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849" y="298189"/>
            <a:ext cx="1313807" cy="826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76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What is BYU-Pathway.mp4" descr="What is BYU-Pathway.mp4">
            <a:hlinkClick r:id="" action="ppaction://media"/>
            <a:extLst>
              <a:ext uri="{FF2B5EF4-FFF2-40B4-BE49-F238E27FC236}">
                <a16:creationId xmlns:a16="http://schemas.microsoft.com/office/drawing/2014/main" id="{A32AAF62-A302-D34D-A999-9A7ABF22F7F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riangle 4">
            <a:extLst>
              <a:ext uri="{FF2B5EF4-FFF2-40B4-BE49-F238E27FC236}">
                <a16:creationId xmlns:a16="http://schemas.microsoft.com/office/drawing/2014/main" id="{270E3A0C-3B09-9F46-BFF6-5784E194DBBB}"/>
              </a:ext>
            </a:extLst>
          </p:cNvPr>
          <p:cNvSpPr/>
          <p:nvPr/>
        </p:nvSpPr>
        <p:spPr>
          <a:xfrm rot="5400000">
            <a:off x="5632450" y="2823936"/>
            <a:ext cx="927100" cy="8509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CDA766-A8E2-574E-A2B3-C6AF89A2092F}"/>
              </a:ext>
            </a:extLst>
          </p:cNvPr>
          <p:cNvSpPr/>
          <p:nvPr/>
        </p:nvSpPr>
        <p:spPr>
          <a:xfrm>
            <a:off x="0" y="615677"/>
            <a:ext cx="5347063" cy="947058"/>
          </a:xfrm>
          <a:prstGeom prst="rect">
            <a:avLst/>
          </a:prstGeom>
          <a:solidFill>
            <a:schemeClr val="tx1"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98BE645-7BD3-584B-967F-C6BFDCFFF150}"/>
              </a:ext>
            </a:extLst>
          </p:cNvPr>
          <p:cNvSpPr txBox="1">
            <a:spLocks/>
          </p:cNvSpPr>
          <p:nvPr/>
        </p:nvSpPr>
        <p:spPr>
          <a:xfrm>
            <a:off x="559749" y="912336"/>
            <a:ext cx="4442557" cy="455612"/>
          </a:xfrm>
          <a:prstGeom prst="rect">
            <a:avLst/>
          </a:prstGeom>
        </p:spPr>
        <p:txBody>
          <a:bodyPr vert="horz" lIns="91440" tIns="45720" rIns="91440" bIns="4572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 sz="2800" b="1" spc="90">
                <a:solidFill>
                  <a:schemeClr val="bg1"/>
                </a:solidFill>
              </a:defRPr>
            </a:pPr>
            <a:r>
              <a:t>¿QUÉ ES BYU-PATHWAY?</a:t>
            </a:r>
          </a:p>
        </p:txBody>
      </p:sp>
    </p:spTree>
    <p:extLst>
      <p:ext uri="{BB962C8B-B14F-4D97-AF65-F5344CB8AC3E}">
        <p14:creationId xmlns:p14="http://schemas.microsoft.com/office/powerpoint/2010/main" val="392624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6172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6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  <p:bldLst>
      <p:bldP spid="5" grpId="0" animBg="1"/>
      <p:bldP spid="6" grpId="0" animBg="1"/>
      <p:bldP spid="7" grpId="0"/>
    </p:bldLst>
  </p:timing>
  <p:extLst>
    <p:ext uri="{6950BFC3-D8DA-4A85-94F7-54DA5524770B}">
      <p188:commentRel xmlns:p188="http://schemas.microsoft.com/office/powerpoint/2018/8/main" r:id="rId5"/>
    </p:ext>
  </p:extLs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E930817-215B-7666-798F-4C742D3F2B62}"/>
              </a:ext>
            </a:extLst>
          </p:cNvPr>
          <p:cNvSpPr/>
          <p:nvPr/>
        </p:nvSpPr>
        <p:spPr>
          <a:xfrm>
            <a:off x="-270165" y="-166255"/>
            <a:ext cx="12732327" cy="719051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B47A480-43D0-6FE7-DBC1-83ADF87B0CF0}"/>
              </a:ext>
            </a:extLst>
          </p:cNvPr>
          <p:cNvSpPr txBox="1"/>
          <p:nvPr/>
        </p:nvSpPr>
        <p:spPr>
          <a:xfrm>
            <a:off x="3983990" y="5130800"/>
            <a:ext cx="422402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 sz="4400" b="1" i="1" spc="50">
                <a:solidFill>
                  <a:srgbClr val="45453F"/>
                </a:solidFill>
                <a:latin typeface="+mj-lt"/>
              </a:defRPr>
            </a:pPr>
            <a:r>
              <a:rPr lang="en-US">
                <a:latin typeface="+mj-lt"/>
              </a:rPr>
              <a:t>byupathway.org</a:t>
            </a:r>
            <a:endParaRPr lang="en-US" sz="4400" i="1" spc="50">
              <a:solidFill>
                <a:srgbClr val="45453F"/>
              </a:solidFill>
              <a:latin typeface="+mj-lt"/>
            </a:endParaRPr>
          </a:p>
        </p:txBody>
      </p:sp>
      <p:pic>
        <p:nvPicPr>
          <p:cNvPr id="9" name="Picture 8" descr="Text  Description automatically generated">
            <a:extLst>
              <a:ext uri="{FF2B5EF4-FFF2-40B4-BE49-F238E27FC236}">
                <a16:creationId xmlns:a16="http://schemas.microsoft.com/office/drawing/2014/main" id="{D123098F-1B08-4244-C5A8-F915E82360A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4862" y="2131813"/>
            <a:ext cx="3182273" cy="1991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030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E89279B5-7865-D045-93E1-B805478CAF9D}"/>
              </a:ext>
            </a:extLst>
          </p:cNvPr>
          <p:cNvSpPr/>
          <p:nvPr/>
        </p:nvSpPr>
        <p:spPr>
          <a:xfrm>
            <a:off x="8952" y="3490783"/>
            <a:ext cx="12192000" cy="3367217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BE50DD-0699-3A41-8108-252B9BA13CE9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640080" y="955387"/>
            <a:ext cx="9028113" cy="75723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lnSpc>
                <a:spcPct val="100000"/>
              </a:lnSpc>
              <a:buNone/>
              <a:defRPr sz="2000"/>
            </a:pPr>
            <a:r>
              <a:t>BYU-Pathway Worldwide </a:t>
            </a:r>
            <a:r>
              <a:rPr err="1"/>
              <a:t>fue</a:t>
            </a:r>
            <a:r>
              <a:t> </a:t>
            </a:r>
            <a:r>
              <a:rPr err="1"/>
              <a:t>fundada</a:t>
            </a:r>
            <a:r>
              <a:rPr lang="en-US"/>
              <a:t>, </a:t>
            </a:r>
            <a:r>
              <a:rPr err="1"/>
              <a:t>apoyada</a:t>
            </a:r>
            <a:r>
              <a:t> y </a:t>
            </a:r>
            <a:r>
              <a:rPr err="1"/>
              <a:t>guiada</a:t>
            </a:r>
            <a:r>
              <a:t> </a:t>
            </a:r>
            <a:r>
              <a:rPr err="1"/>
              <a:t>por</a:t>
            </a:r>
            <a:r>
              <a:t> La Iglesia de Jesucristo de </a:t>
            </a:r>
            <a:r>
              <a:rPr err="1"/>
              <a:t>los</a:t>
            </a:r>
            <a:r>
              <a:t> Santos de </a:t>
            </a:r>
            <a:r>
              <a:rPr err="1"/>
              <a:t>los</a:t>
            </a:r>
            <a:r>
              <a:t> </a:t>
            </a:r>
            <a:r>
              <a:rPr err="1"/>
              <a:t>Últimos</a:t>
            </a:r>
            <a:r>
              <a:t> Días.</a:t>
            </a:r>
          </a:p>
          <a:p>
            <a:pPr marL="0" lvl="0" indent="0">
              <a:buNone/>
            </a:pPr>
            <a:endParaRPr lang="en-US" sz="2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5950C2-CF2E-EA4E-8AA7-77CD0DE0D03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96528" y="6356350"/>
            <a:ext cx="2743200" cy="365125"/>
          </a:xfrm>
        </p:spPr>
        <p:txBody>
          <a:bodyPr/>
          <a:lstStyle/>
          <a:p>
            <a:fld id="{8893C2FB-EF86-FD49-89EB-659751C15892}" type="slidenum">
              <a:rPr lang="en-US" smtClean="0"/>
              <a:t>31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4F58FE6-2E56-F44F-B50A-3F34112A58D4}"/>
              </a:ext>
            </a:extLst>
          </p:cNvPr>
          <p:cNvSpPr txBox="1"/>
          <p:nvPr/>
        </p:nvSpPr>
        <p:spPr>
          <a:xfrm>
            <a:off x="11327130" y="640080"/>
            <a:ext cx="184731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CD8C5D8-D759-764A-8FA6-7D35B2389EB1}"/>
              </a:ext>
            </a:extLst>
          </p:cNvPr>
          <p:cNvSpPr txBox="1">
            <a:spLocks/>
          </p:cNvSpPr>
          <p:nvPr/>
        </p:nvSpPr>
        <p:spPr>
          <a:xfrm>
            <a:off x="622662" y="1926867"/>
            <a:ext cx="10045338" cy="1132554"/>
          </a:xfrm>
          <a:prstGeom prst="rect">
            <a:avLst/>
          </a:prstGeom>
        </p:spPr>
        <p:txBody>
          <a:bodyPr vert="horz" lIns="91440" tIns="45720" rIns="91440" bIns="4572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  <a:defRPr sz="3200" i="1">
                <a:solidFill>
                  <a:srgbClr val="F9C608"/>
                </a:solidFill>
                <a:latin typeface="Palatino" pitchFamily="2" charset="77"/>
                <a:ea typeface="Palatino" pitchFamily="2" charset="77"/>
              </a:defRPr>
            </a:pPr>
            <a:r>
              <a:t>Su misión es desarrollar discípulos de Jesucristo que sean líderes en sus hogares, la Iglesia y sus comunidades.</a:t>
            </a:r>
          </a:p>
          <a:p>
            <a:pPr marL="0" indent="0">
              <a:lnSpc>
                <a:spcPct val="100000"/>
              </a:lnSpc>
              <a:buFont typeface="Arial"/>
              <a:buNone/>
            </a:pPr>
            <a:endParaRPr lang="en-US" sz="2000" i="1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BCEA2A6-37A2-EE4F-916C-1C105125B95B}"/>
              </a:ext>
            </a:extLst>
          </p:cNvPr>
          <p:cNvSpPr txBox="1">
            <a:spLocks/>
          </p:cNvSpPr>
          <p:nvPr/>
        </p:nvSpPr>
        <p:spPr>
          <a:xfrm>
            <a:off x="651975" y="3813822"/>
            <a:ext cx="10888050" cy="344169"/>
          </a:xfrm>
          <a:prstGeom prst="rect">
            <a:avLst/>
          </a:prstGeom>
        </p:spPr>
        <p:txBody>
          <a:bodyPr vert="horz" lIns="91440" tIns="45720" rIns="91440" bIns="4572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 sz="2000" b="1" spc="70"/>
            </a:pPr>
            <a:r>
              <a:t>LOS ESTUDIANTES QUE PARTICIPAN EN BYU-PATHWAY EN TODO EL MUNDO:</a:t>
            </a:r>
          </a:p>
          <a:p>
            <a:pPr marL="0" indent="0">
              <a:buFont typeface="Arial"/>
              <a:buNone/>
            </a:pPr>
            <a:endParaRPr lang="en-US" sz="2000" b="1" spc="7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610CB5B-3D7A-7B41-84CD-5A9624E4D204}"/>
              </a:ext>
            </a:extLst>
          </p:cNvPr>
          <p:cNvGrpSpPr/>
          <p:nvPr/>
        </p:nvGrpSpPr>
        <p:grpSpPr>
          <a:xfrm>
            <a:off x="5138057" y="4506033"/>
            <a:ext cx="1950427" cy="1706918"/>
            <a:chOff x="4968135" y="4394061"/>
            <a:chExt cx="1950427" cy="1706918"/>
          </a:xfrm>
        </p:grpSpPr>
        <p:sp>
          <p:nvSpPr>
            <p:cNvPr id="13" name="Content Placeholder 2">
              <a:extLst>
                <a:ext uri="{FF2B5EF4-FFF2-40B4-BE49-F238E27FC236}">
                  <a16:creationId xmlns:a16="http://schemas.microsoft.com/office/drawing/2014/main" id="{214F4EDA-9E65-7A44-8530-C208ED9530BB}"/>
                </a:ext>
              </a:extLst>
            </p:cNvPr>
            <p:cNvSpPr txBox="1">
              <a:spLocks/>
            </p:cNvSpPr>
            <p:nvPr/>
          </p:nvSpPr>
          <p:spPr>
            <a:xfrm>
              <a:off x="4968135" y="5169663"/>
              <a:ext cx="1950427" cy="931316"/>
            </a:xfrm>
            <a:prstGeom prst="rect">
              <a:avLst/>
            </a:prstGeom>
          </p:spPr>
          <p:txBody>
            <a:bodyPr vert="horz" lIns="91440" tIns="45720" rIns="91440" bIns="4572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  <a:defRPr sz="2000" b="1"/>
              </a:pPr>
              <a:r>
                <a:t>Se convierten en estudiantes capaces</a:t>
              </a:r>
            </a:p>
            <a:p>
              <a:pPr marL="0" indent="0">
                <a:buFont typeface="Arial"/>
                <a:buNone/>
              </a:pPr>
              <a:endParaRPr lang="en-US"/>
            </a:p>
          </p:txBody>
        </p:sp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176735A7-3AE8-2247-B4CF-8DEF63CA10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603040" y="4394061"/>
              <a:ext cx="663981" cy="663981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E2DAB5D-21E0-4644-A661-13C16A750C4A}"/>
              </a:ext>
            </a:extLst>
          </p:cNvPr>
          <p:cNvGrpSpPr/>
          <p:nvPr/>
        </p:nvGrpSpPr>
        <p:grpSpPr>
          <a:xfrm>
            <a:off x="1915888" y="4586914"/>
            <a:ext cx="2373206" cy="1609110"/>
            <a:chOff x="1915888" y="4474942"/>
            <a:chExt cx="2373206" cy="1609110"/>
          </a:xfrm>
        </p:grpSpPr>
        <p:sp>
          <p:nvSpPr>
            <p:cNvPr id="12" name="Content Placeholder 2">
              <a:extLst>
                <a:ext uri="{FF2B5EF4-FFF2-40B4-BE49-F238E27FC236}">
                  <a16:creationId xmlns:a16="http://schemas.microsoft.com/office/drawing/2014/main" id="{C897D01E-E99D-A245-8A13-F45949F8C082}"/>
                </a:ext>
              </a:extLst>
            </p:cNvPr>
            <p:cNvSpPr txBox="1">
              <a:spLocks/>
            </p:cNvSpPr>
            <p:nvPr/>
          </p:nvSpPr>
          <p:spPr>
            <a:xfrm>
              <a:off x="1915888" y="5129798"/>
              <a:ext cx="2373206" cy="954254"/>
            </a:xfrm>
            <a:prstGeom prst="rect">
              <a:avLst/>
            </a:prstGeom>
          </p:spPr>
          <p:txBody>
            <a:bodyPr vert="horz" lIns="91440" tIns="45720" rIns="91440" bIns="45720">
              <a:normAutofit fontScale="92500"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  <a:defRPr b="1"/>
              </a:pPr>
              <a:r>
                <a:t>Llevan el evangelio en sus corazones</a:t>
              </a:r>
            </a:p>
            <a:p>
              <a:pPr marL="0" indent="0">
                <a:lnSpc>
                  <a:spcPct val="110000"/>
                </a:lnSpc>
                <a:buFont typeface="Arial"/>
                <a:buNone/>
              </a:pPr>
              <a:endParaRPr lang="en-US"/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55A6251-C87C-3141-9F9F-CDEDD75626D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811292" y="4474942"/>
              <a:ext cx="556765" cy="556765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FBA07934-62AC-294C-BDC6-410FB47BE9C4}"/>
              </a:ext>
            </a:extLst>
          </p:cNvPr>
          <p:cNvGrpSpPr/>
          <p:nvPr/>
        </p:nvGrpSpPr>
        <p:grpSpPr>
          <a:xfrm>
            <a:off x="7975745" y="4652648"/>
            <a:ext cx="2474539" cy="1526087"/>
            <a:chOff x="7713927" y="4540676"/>
            <a:chExt cx="2474539" cy="1526087"/>
          </a:xfrm>
        </p:grpSpPr>
        <p:sp>
          <p:nvSpPr>
            <p:cNvPr id="14" name="Content Placeholder 2">
              <a:extLst>
                <a:ext uri="{FF2B5EF4-FFF2-40B4-BE49-F238E27FC236}">
                  <a16:creationId xmlns:a16="http://schemas.microsoft.com/office/drawing/2014/main" id="{3D19938C-6335-2249-A13D-06A60FE39D74}"/>
                </a:ext>
              </a:extLst>
            </p:cNvPr>
            <p:cNvSpPr txBox="1">
              <a:spLocks/>
            </p:cNvSpPr>
            <p:nvPr/>
          </p:nvSpPr>
          <p:spPr>
            <a:xfrm>
              <a:off x="7713927" y="5112509"/>
              <a:ext cx="2474539" cy="954254"/>
            </a:xfrm>
            <a:prstGeom prst="rect">
              <a:avLst/>
            </a:prstGeom>
          </p:spPr>
          <p:txBody>
            <a:bodyPr vert="horz" lIns="91440" tIns="45720" rIns="91440" bIns="4572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  <a:defRPr sz="2000" b="1"/>
              </a:pPr>
              <a:r>
                <a:t>Se preparan para liderar y apoyar a sus familias</a:t>
              </a:r>
            </a:p>
            <a:p>
              <a:pPr marL="0" indent="0">
                <a:buFont typeface="Arial"/>
                <a:buNone/>
              </a:pPr>
              <a:endParaRPr lang="en-US" sz="2400" b="1"/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3E271B06-2EC5-7D49-BAEA-87F3523BD78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502005" y="4540676"/>
              <a:ext cx="768000" cy="448000"/>
            </a:xfrm>
            <a:prstGeom prst="rect">
              <a:avLst/>
            </a:prstGeom>
          </p:spPr>
        </p:pic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62F685AB-5384-DB72-F4DC-15BDFFA79146}"/>
              </a:ext>
            </a:extLst>
          </p:cNvPr>
          <p:cNvSpPr/>
          <p:nvPr/>
        </p:nvSpPr>
        <p:spPr>
          <a:xfrm>
            <a:off x="10479505" y="0"/>
            <a:ext cx="1712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19" name="Picture 18" descr="Text  Description automatically generated">
            <a:extLst>
              <a:ext uri="{FF2B5EF4-FFF2-40B4-BE49-F238E27FC236}">
                <a16:creationId xmlns:a16="http://schemas.microsoft.com/office/drawing/2014/main" id="{E2FED95A-6FE2-6B6F-CCAA-7BD382B02DFD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849" y="298189"/>
            <a:ext cx="1313807" cy="826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528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residentClarkASchoolinZionSegment1.mp4" descr="PresidentClarkASchoolinZionSegment1.mp4">
            <a:hlinkClick r:id="" action="ppaction://media"/>
            <a:extLst>
              <a:ext uri="{FF2B5EF4-FFF2-40B4-BE49-F238E27FC236}">
                <a16:creationId xmlns:a16="http://schemas.microsoft.com/office/drawing/2014/main" id="{A763C78B-B9FD-1D4E-B252-A8CAE0E4C88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riangle 4">
            <a:extLst>
              <a:ext uri="{FF2B5EF4-FFF2-40B4-BE49-F238E27FC236}">
                <a16:creationId xmlns:a16="http://schemas.microsoft.com/office/drawing/2014/main" id="{270E3A0C-3B09-9F46-BFF6-5784E194DBBB}"/>
              </a:ext>
            </a:extLst>
          </p:cNvPr>
          <p:cNvSpPr/>
          <p:nvPr/>
        </p:nvSpPr>
        <p:spPr>
          <a:xfrm rot="5400000">
            <a:off x="5876290" y="3006816"/>
            <a:ext cx="927100" cy="8509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CDA766-A8E2-574E-A2B3-C6AF89A2092F}"/>
              </a:ext>
            </a:extLst>
          </p:cNvPr>
          <p:cNvSpPr/>
          <p:nvPr/>
        </p:nvSpPr>
        <p:spPr>
          <a:xfrm>
            <a:off x="0" y="615677"/>
            <a:ext cx="5912285" cy="947058"/>
          </a:xfrm>
          <a:prstGeom prst="rect">
            <a:avLst/>
          </a:prstGeom>
          <a:solidFill>
            <a:schemeClr val="tx1"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98BE645-7BD3-584B-967F-C6BFDCFFF150}"/>
              </a:ext>
            </a:extLst>
          </p:cNvPr>
          <p:cNvSpPr txBox="1">
            <a:spLocks/>
          </p:cNvSpPr>
          <p:nvPr/>
        </p:nvSpPr>
        <p:spPr>
          <a:xfrm>
            <a:off x="434489" y="898978"/>
            <a:ext cx="5352536" cy="455612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 sz="2800" spc="90">
                <a:solidFill>
                  <a:schemeClr val="bg1"/>
                </a:solidFill>
                <a:latin typeface="+mj-lt"/>
              </a:defRPr>
            </a:pPr>
            <a:r>
              <a:rPr lang="en-US" sz="2400" b="1">
                <a:latin typeface="Calibri" panose="020F0502020204030204" pitchFamily="34" charset="0"/>
                <a:cs typeface="Calibri" panose="020F0502020204030204" pitchFamily="34" charset="0"/>
              </a:rPr>
              <a:t>UNA HERRAMIENTA PARA MINISTRAR</a:t>
            </a:r>
          </a:p>
        </p:txBody>
      </p:sp>
    </p:spTree>
    <p:extLst>
      <p:ext uri="{BB962C8B-B14F-4D97-AF65-F5344CB8AC3E}">
        <p14:creationId xmlns:p14="http://schemas.microsoft.com/office/powerpoint/2010/main" val="1564383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9962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6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  <p:bldLst>
      <p:bldP spid="5" grpId="0" animBg="1"/>
      <p:bldP spid="6" grpId="0" animBg="1"/>
      <p:bldP spid="7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CCBD9E5A-B8CF-BA45-9DF4-21000665A8AA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593013" y="0"/>
            <a:ext cx="4598987" cy="6858000"/>
          </a:xfr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84CEB7-306D-9D4B-8A46-9E23D7A9C839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559750" y="1301184"/>
            <a:ext cx="6275388" cy="5054600"/>
          </a:xfrm>
        </p:spPr>
        <p:txBody>
          <a:bodyPr>
            <a:normAutofit lnSpcReduction="10000"/>
          </a:bodyPr>
          <a:lstStyle/>
          <a:p>
            <a:pPr marL="0" indent="0">
              <a:lnSpc>
                <a:spcPct val="100000"/>
              </a:lnSpc>
              <a:buNone/>
              <a:defRPr sz="2000"/>
            </a:pPr>
            <a:r>
              <a:t>BYU-Pathway es </a:t>
            </a:r>
            <a:r>
              <a:rPr lang="en-US" err="1"/>
              <a:t>más</a:t>
            </a:r>
            <a:r>
              <a:t> que un </a:t>
            </a:r>
            <a:r>
              <a:rPr lang="en-US" err="1"/>
              <a:t>camino</a:t>
            </a:r>
            <a:r>
              <a:t> </a:t>
            </a:r>
            <a:r>
              <a:rPr lang="en-US" err="1"/>
              <a:t>hacia</a:t>
            </a:r>
            <a:r>
              <a:t> un </a:t>
            </a:r>
            <a:r>
              <a:rPr lang="en-US" err="1"/>
              <a:t>título</a:t>
            </a:r>
            <a:r>
              <a:t>: </a:t>
            </a:r>
            <a:r>
              <a:rPr lang="en-US" err="1"/>
              <a:t>puede</a:t>
            </a:r>
            <a:r>
              <a:t> ser </a:t>
            </a:r>
            <a:r>
              <a:rPr lang="en-US" err="1"/>
              <a:t>una</a:t>
            </a:r>
            <a:r>
              <a:t> </a:t>
            </a:r>
            <a:r>
              <a:rPr lang="en-US" err="1"/>
              <a:t>herramienta</a:t>
            </a:r>
            <a:r>
              <a:t> </a:t>
            </a:r>
            <a:r>
              <a:rPr lang="en-US" err="1"/>
              <a:t>poderosa</a:t>
            </a:r>
            <a:r>
              <a:t> </a:t>
            </a:r>
            <a:r>
              <a:rPr lang="en-US" err="1"/>
              <a:t>en</a:t>
            </a:r>
            <a:r>
              <a:t> </a:t>
            </a:r>
            <a:r>
              <a:rPr lang="en-US" err="1"/>
              <a:t>los</a:t>
            </a:r>
            <a:r>
              <a:t> </a:t>
            </a:r>
            <a:r>
              <a:rPr lang="en-US" err="1"/>
              <a:t>esfuerzos</a:t>
            </a:r>
            <a:r>
              <a:t> de </a:t>
            </a:r>
            <a:r>
              <a:rPr lang="en-US" err="1"/>
              <a:t>ministración</a:t>
            </a:r>
            <a:r>
              <a:t> de </a:t>
            </a:r>
            <a:r>
              <a:rPr lang="en-US" err="1"/>
              <a:t>los</a:t>
            </a:r>
            <a:r>
              <a:t> </a:t>
            </a:r>
            <a:r>
              <a:rPr lang="en-US" err="1"/>
              <a:t>líderes</a:t>
            </a:r>
            <a:r>
              <a:t> de la </a:t>
            </a:r>
            <a:r>
              <a:rPr lang="en-US" err="1"/>
              <a:t>Iglesia</a:t>
            </a:r>
            <a:r>
              <a:t>. Los </a:t>
            </a:r>
            <a:r>
              <a:rPr lang="en-US" err="1"/>
              <a:t>siguientes</a:t>
            </a:r>
            <a:r>
              <a:t> son solo </a:t>
            </a:r>
            <a:r>
              <a:rPr lang="en-US" err="1"/>
              <a:t>algunos</a:t>
            </a:r>
            <a:r>
              <a:t> de </a:t>
            </a:r>
            <a:r>
              <a:rPr lang="en-US" err="1"/>
              <a:t>los</a:t>
            </a:r>
            <a:r>
              <a:t> </a:t>
            </a:r>
            <a:r>
              <a:rPr lang="en-US" err="1"/>
              <a:t>grupos</a:t>
            </a:r>
            <a:r>
              <a:t> que </a:t>
            </a:r>
            <a:r>
              <a:rPr lang="en-US" err="1"/>
              <a:t>el</a:t>
            </a:r>
            <a:r>
              <a:t> </a:t>
            </a:r>
            <a:r>
              <a:rPr lang="en-US" err="1"/>
              <a:t>modelo</a:t>
            </a:r>
            <a:r>
              <a:t> flexible y de bajo </a:t>
            </a:r>
            <a:r>
              <a:rPr lang="en-US" err="1"/>
              <a:t>costo</a:t>
            </a:r>
            <a:r>
              <a:t> de BYU-Pathway </a:t>
            </a:r>
            <a:r>
              <a:rPr lang="en-US" err="1"/>
              <a:t>puede</a:t>
            </a:r>
            <a:r>
              <a:t> </a:t>
            </a:r>
            <a:r>
              <a:rPr lang="en-US" err="1"/>
              <a:t>fortalecer</a:t>
            </a:r>
            <a:r>
              <a:t> tanto </a:t>
            </a:r>
            <a:r>
              <a:rPr lang="en-US" err="1"/>
              <a:t>espiritual</a:t>
            </a:r>
            <a:r>
              <a:t> </a:t>
            </a:r>
            <a:r>
              <a:rPr lang="en-US" err="1"/>
              <a:t>como</a:t>
            </a:r>
            <a:r>
              <a:t> </a:t>
            </a:r>
            <a:r>
              <a:rPr lang="en-US" err="1"/>
              <a:t>temporalmente</a:t>
            </a:r>
            <a:r>
              <a:t>:</a:t>
            </a:r>
          </a:p>
          <a:p>
            <a:pPr marL="457200" lvl="1" indent="0">
              <a:lnSpc>
                <a:spcPct val="110000"/>
              </a:lnSpc>
              <a:buNone/>
            </a:pPr>
            <a:endParaRPr lang="en-US" sz="800" b="1"/>
          </a:p>
          <a:p>
            <a:pPr marL="0" indent="0">
              <a:lnSpc>
                <a:spcPct val="110000"/>
              </a:lnSpc>
              <a:buNone/>
            </a:pPr>
            <a:r>
              <a:rPr sz="2400" b="1">
                <a:solidFill>
                  <a:srgbClr val="3793A7"/>
                </a:solidFill>
              </a:rPr>
              <a:t>FUTUROS ELDERES</a:t>
            </a:r>
            <a:br>
              <a:rPr lang="en-US" sz="2000"/>
            </a:br>
            <a:r>
              <a:rPr sz="1800"/>
              <a:t>BYU-Pathway </a:t>
            </a:r>
            <a:r>
              <a:rPr lang="en-US" sz="1800" err="1"/>
              <a:t>puede</a:t>
            </a:r>
            <a:r>
              <a:rPr sz="1800"/>
              <a:t> </a:t>
            </a:r>
            <a:r>
              <a:rPr lang="en-US" sz="1800" err="1"/>
              <a:t>proporcionar</a:t>
            </a:r>
            <a:r>
              <a:rPr sz="1800"/>
              <a:t> </a:t>
            </a:r>
            <a:r>
              <a:rPr lang="en-US" sz="1800" err="1"/>
              <a:t>crecimiento</a:t>
            </a:r>
            <a:r>
              <a:rPr sz="1800"/>
              <a:t> </a:t>
            </a:r>
            <a:r>
              <a:rPr lang="en-US" sz="1800" err="1"/>
              <a:t>espiritual</a:t>
            </a:r>
            <a:r>
              <a:rPr sz="1800"/>
              <a:t>, </a:t>
            </a:r>
            <a:r>
              <a:rPr lang="en-US" sz="1800" err="1"/>
              <a:t>acceso</a:t>
            </a:r>
            <a:r>
              <a:rPr sz="1800"/>
              <a:t> a la </a:t>
            </a:r>
            <a:r>
              <a:rPr lang="en-US" sz="1800" err="1"/>
              <a:t>educación</a:t>
            </a:r>
            <a:r>
              <a:rPr sz="1800"/>
              <a:t> y </a:t>
            </a:r>
            <a:r>
              <a:rPr lang="en-US" sz="1800" err="1"/>
              <a:t>una</a:t>
            </a:r>
            <a:r>
              <a:rPr sz="1800"/>
              <a:t> </a:t>
            </a:r>
            <a:r>
              <a:rPr lang="en-US" sz="1800" err="1"/>
              <a:t>carrera</a:t>
            </a:r>
            <a:r>
              <a:rPr sz="1800"/>
              <a:t> </a:t>
            </a:r>
            <a:r>
              <a:rPr lang="en-US" sz="1800" err="1"/>
              <a:t>mejor</a:t>
            </a:r>
            <a:r>
              <a:rPr sz="1800"/>
              <a:t>, al </a:t>
            </a:r>
            <a:r>
              <a:rPr lang="en-US" sz="1800" err="1"/>
              <a:t>mismo</a:t>
            </a:r>
            <a:r>
              <a:rPr sz="1800"/>
              <a:t> </a:t>
            </a:r>
            <a:r>
              <a:rPr lang="en-US" sz="1800" err="1"/>
              <a:t>tiempo</a:t>
            </a:r>
            <a:r>
              <a:rPr sz="1800"/>
              <a:t> que da a </a:t>
            </a:r>
            <a:r>
              <a:rPr lang="en-US" sz="1800" err="1"/>
              <a:t>conocer</a:t>
            </a:r>
            <a:r>
              <a:rPr sz="1800"/>
              <a:t> </a:t>
            </a:r>
            <a:r>
              <a:rPr lang="en-US" sz="1800" err="1"/>
              <a:t>el</a:t>
            </a:r>
            <a:r>
              <a:rPr sz="1800"/>
              <a:t> </a:t>
            </a:r>
            <a:r>
              <a:rPr lang="en-US" sz="1800" err="1"/>
              <a:t>Evangelio</a:t>
            </a:r>
            <a:r>
              <a:rPr sz="1800"/>
              <a:t> a </a:t>
            </a:r>
            <a:r>
              <a:rPr lang="en-US" sz="1800" err="1"/>
              <a:t>los</a:t>
            </a:r>
            <a:r>
              <a:rPr sz="1800"/>
              <a:t> </a:t>
            </a:r>
            <a:r>
              <a:rPr lang="en-US" sz="1800" err="1"/>
              <a:t>miembros</a:t>
            </a:r>
            <a:r>
              <a:rPr sz="1800"/>
              <a:t> de la </a:t>
            </a:r>
            <a:r>
              <a:rPr lang="en-US" sz="1800" err="1"/>
              <a:t>familia</a:t>
            </a:r>
            <a:r>
              <a:rPr sz="1800"/>
              <a:t>.</a:t>
            </a:r>
          </a:p>
          <a:p>
            <a:pPr marL="0" indent="0">
              <a:lnSpc>
                <a:spcPct val="110000"/>
              </a:lnSpc>
              <a:buNone/>
            </a:pPr>
            <a:r>
              <a:rPr sz="2400" b="1">
                <a:solidFill>
                  <a:srgbClr val="3793A7"/>
                </a:solidFill>
              </a:rPr>
              <a:t>MISIONEROS QUE HAN RETORNADO RECIENTEMENTE</a:t>
            </a:r>
            <a:br>
              <a:rPr lang="en-US" sz="1800"/>
            </a:br>
            <a:r>
              <a:rPr sz="1800"/>
              <a:t>BYU-Pathway </a:t>
            </a:r>
            <a:r>
              <a:rPr lang="en-US" sz="1800" err="1"/>
              <a:t>puede</a:t>
            </a:r>
            <a:r>
              <a:rPr sz="1800"/>
              <a:t> </a:t>
            </a:r>
            <a:r>
              <a:rPr lang="en-US" sz="1800" err="1"/>
              <a:t>ayudar</a:t>
            </a:r>
            <a:r>
              <a:rPr sz="1800"/>
              <a:t> a </a:t>
            </a:r>
            <a:r>
              <a:rPr lang="en-US" sz="1800" err="1"/>
              <a:t>los</a:t>
            </a:r>
            <a:r>
              <a:rPr sz="1800"/>
              <a:t> </a:t>
            </a:r>
            <a:r>
              <a:rPr lang="en-US" sz="1800" err="1"/>
              <a:t>misioneros</a:t>
            </a:r>
            <a:r>
              <a:rPr sz="1800"/>
              <a:t> </a:t>
            </a:r>
            <a:r>
              <a:rPr lang="en-US" sz="1800" err="1"/>
              <a:t>retornados</a:t>
            </a:r>
            <a:r>
              <a:rPr sz="1800"/>
              <a:t> a </a:t>
            </a:r>
            <a:r>
              <a:rPr lang="en-US" sz="1800" err="1"/>
              <a:t>continuar</a:t>
            </a:r>
            <a:r>
              <a:rPr sz="1800"/>
              <a:t> </a:t>
            </a:r>
            <a:r>
              <a:rPr lang="en-US" sz="1800" err="1"/>
              <a:t>involucrándose</a:t>
            </a:r>
            <a:r>
              <a:rPr sz="1800"/>
              <a:t> </a:t>
            </a:r>
            <a:r>
              <a:rPr lang="en-US" sz="1800" err="1"/>
              <a:t>en</a:t>
            </a:r>
            <a:r>
              <a:rPr sz="1800"/>
              <a:t> </a:t>
            </a:r>
            <a:r>
              <a:rPr lang="en-US" sz="1800" err="1"/>
              <a:t>el</a:t>
            </a:r>
            <a:r>
              <a:rPr sz="1800"/>
              <a:t> </a:t>
            </a:r>
            <a:r>
              <a:rPr lang="en-US" sz="1800" err="1"/>
              <a:t>Evangelio</a:t>
            </a:r>
            <a:r>
              <a:rPr sz="1800"/>
              <a:t> </a:t>
            </a:r>
            <a:r>
              <a:rPr lang="en-US" sz="1800" err="1"/>
              <a:t>mientras</a:t>
            </a:r>
            <a:r>
              <a:rPr sz="1800"/>
              <a:t> </a:t>
            </a:r>
            <a:r>
              <a:rPr lang="en-US" sz="1800" err="1"/>
              <a:t>reciben</a:t>
            </a:r>
            <a:r>
              <a:rPr sz="1800"/>
              <a:t> </a:t>
            </a:r>
            <a:r>
              <a:rPr lang="en-US" sz="1800" err="1"/>
              <a:t>una</a:t>
            </a:r>
            <a:r>
              <a:rPr sz="1800"/>
              <a:t> </a:t>
            </a:r>
            <a:r>
              <a:rPr lang="en-US" sz="1800" err="1"/>
              <a:t>educación</a:t>
            </a:r>
            <a:r>
              <a:rPr sz="1800"/>
              <a:t> y </a:t>
            </a:r>
            <a:r>
              <a:rPr lang="en-US" sz="1800" err="1"/>
              <a:t>progresan</a:t>
            </a:r>
            <a:r>
              <a:rPr sz="1800"/>
              <a:t> </a:t>
            </a:r>
            <a:r>
              <a:rPr lang="en-US" sz="1800" err="1"/>
              <a:t>hacía</a:t>
            </a:r>
            <a:r>
              <a:rPr sz="1800"/>
              <a:t> </a:t>
            </a:r>
            <a:r>
              <a:rPr lang="en-US" sz="1800" err="1"/>
              <a:t>una</a:t>
            </a:r>
            <a:r>
              <a:rPr sz="1800"/>
              <a:t> </a:t>
            </a:r>
            <a:r>
              <a:rPr lang="en-US" sz="1800" err="1"/>
              <a:t>familia</a:t>
            </a:r>
            <a:r>
              <a:rPr sz="1800"/>
              <a:t> y </a:t>
            </a:r>
            <a:r>
              <a:rPr lang="en-US" sz="1800" err="1"/>
              <a:t>una</a:t>
            </a:r>
            <a:r>
              <a:rPr sz="1800"/>
              <a:t> </a:t>
            </a:r>
            <a:r>
              <a:rPr lang="en-US" sz="1800" err="1"/>
              <a:t>carrera</a:t>
            </a:r>
            <a:r>
              <a:rPr sz="1800"/>
              <a:t>.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19BA7E76-E466-9240-A419-49D1B14B079B}"/>
              </a:ext>
            </a:extLst>
          </p:cNvPr>
          <p:cNvSpPr txBox="1">
            <a:spLocks/>
          </p:cNvSpPr>
          <p:nvPr/>
        </p:nvSpPr>
        <p:spPr>
          <a:xfrm>
            <a:off x="538970" y="474007"/>
            <a:ext cx="5674411" cy="616404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 sz="4400">
                <a:latin typeface="+mj-lt"/>
              </a:defRPr>
            </a:pPr>
            <a:r>
              <a:t>Para líderes de la Iglesia</a:t>
            </a:r>
          </a:p>
        </p:txBody>
      </p:sp>
    </p:spTree>
    <p:extLst>
      <p:ext uri="{BB962C8B-B14F-4D97-AF65-F5344CB8AC3E}">
        <p14:creationId xmlns:p14="http://schemas.microsoft.com/office/powerpoint/2010/main" val="2661863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C0A096C8-1AC9-1943-B74F-4A7520050FF3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593013" y="0"/>
            <a:ext cx="4598987" cy="6858000"/>
          </a:xfr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84CEB7-306D-9D4B-8A46-9E23D7A9C839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576942" y="1189213"/>
            <a:ext cx="6363799" cy="5165867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sz="2400" b="1">
                <a:solidFill>
                  <a:srgbClr val="3793A7"/>
                </a:solidFill>
              </a:rPr>
              <a:t>JÓVENES ADULTOS SOLTEROS</a:t>
            </a:r>
            <a:br>
              <a:rPr lang="en-US" sz="1800"/>
            </a:br>
            <a:r>
              <a:rPr sz="1800"/>
              <a:t>Los </a:t>
            </a:r>
            <a:r>
              <a:rPr lang="en-US" sz="1800" err="1"/>
              <a:t>cursos</a:t>
            </a:r>
            <a:r>
              <a:rPr sz="1800"/>
              <a:t> </a:t>
            </a:r>
            <a:r>
              <a:rPr lang="en-US" sz="1800" err="1"/>
              <a:t>basados</a:t>
            </a:r>
            <a:r>
              <a:rPr sz="1800"/>
              <a:t> </a:t>
            </a:r>
            <a:r>
              <a:rPr lang="en-US" sz="1800" err="1"/>
              <a:t>en</a:t>
            </a:r>
            <a:r>
              <a:rPr sz="1800"/>
              <a:t> </a:t>
            </a:r>
            <a:r>
              <a:rPr lang="en-US" sz="1800" err="1"/>
              <a:t>el</a:t>
            </a:r>
            <a:r>
              <a:rPr sz="1800"/>
              <a:t> </a:t>
            </a:r>
            <a:r>
              <a:rPr lang="en-US" sz="1800" err="1"/>
              <a:t>Evangelio</a:t>
            </a:r>
            <a:r>
              <a:rPr sz="1800"/>
              <a:t> y </a:t>
            </a:r>
            <a:r>
              <a:rPr lang="en-US" sz="1800" err="1"/>
              <a:t>los</a:t>
            </a:r>
            <a:r>
              <a:rPr sz="1800"/>
              <a:t> </a:t>
            </a:r>
            <a:r>
              <a:rPr lang="en-US" sz="1800" err="1"/>
              <a:t>requisitos</a:t>
            </a:r>
            <a:r>
              <a:rPr sz="1800"/>
              <a:t> de </a:t>
            </a:r>
            <a:r>
              <a:rPr lang="en-US" sz="1800" err="1"/>
              <a:t>instituto</a:t>
            </a:r>
            <a:r>
              <a:rPr sz="1800"/>
              <a:t> de BYU-Pathway </a:t>
            </a:r>
            <a:r>
              <a:rPr lang="en-US" sz="1800" err="1"/>
              <a:t>pueden</a:t>
            </a:r>
            <a:r>
              <a:rPr sz="1800"/>
              <a:t> ser </a:t>
            </a:r>
            <a:r>
              <a:rPr lang="en-US" sz="1800" err="1"/>
              <a:t>una</a:t>
            </a:r>
            <a:r>
              <a:rPr sz="1800"/>
              <a:t> </a:t>
            </a:r>
            <a:r>
              <a:rPr lang="en-US" sz="1800" err="1"/>
              <a:t>fuente</a:t>
            </a:r>
            <a:r>
              <a:rPr sz="1800"/>
              <a:t> de </a:t>
            </a:r>
            <a:r>
              <a:rPr lang="en-US" sz="1800" err="1"/>
              <a:t>fortaleza</a:t>
            </a:r>
            <a:r>
              <a:rPr sz="1800"/>
              <a:t> y </a:t>
            </a:r>
            <a:r>
              <a:rPr lang="en-US" sz="1800" err="1"/>
              <a:t>dirección</a:t>
            </a:r>
            <a:r>
              <a:rPr sz="1800"/>
              <a:t> para </a:t>
            </a:r>
            <a:r>
              <a:rPr lang="en-US" sz="1800" err="1"/>
              <a:t>los</a:t>
            </a:r>
            <a:r>
              <a:rPr sz="1800"/>
              <a:t> </a:t>
            </a:r>
            <a:r>
              <a:rPr lang="en-US" sz="1800" err="1"/>
              <a:t>jóvenes</a:t>
            </a:r>
            <a:r>
              <a:rPr sz="1800"/>
              <a:t> </a:t>
            </a:r>
            <a:r>
              <a:rPr lang="en-US" sz="1800" err="1"/>
              <a:t>adultos</a:t>
            </a:r>
            <a:r>
              <a:rPr sz="1800"/>
              <a:t>.</a:t>
            </a:r>
            <a:endParaRPr lang="en-US" sz="1800" b="1">
              <a:solidFill>
                <a:srgbClr val="F9C608"/>
              </a:solidFill>
            </a:endParaRPr>
          </a:p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sz="2400" b="1">
                <a:solidFill>
                  <a:srgbClr val="3793A7"/>
                </a:solidFill>
              </a:rPr>
              <a:t>MIEMBROS DE LA IGLESIA SUBEMPLEADOS </a:t>
            </a:r>
            <a:br>
              <a:rPr lang="en-US" sz="1800"/>
            </a:br>
            <a:r>
              <a:rPr sz="1800"/>
              <a:t>BYU-Pathway </a:t>
            </a:r>
            <a:r>
              <a:rPr lang="en-US" sz="1800" err="1"/>
              <a:t>puede</a:t>
            </a:r>
            <a:r>
              <a:rPr sz="1800"/>
              <a:t> </a:t>
            </a:r>
            <a:r>
              <a:rPr lang="en-US" sz="1800" err="1"/>
              <a:t>ayudar</a:t>
            </a:r>
            <a:r>
              <a:rPr sz="1800"/>
              <a:t> a </a:t>
            </a:r>
            <a:r>
              <a:rPr lang="en-US" sz="1800" err="1"/>
              <a:t>los</a:t>
            </a:r>
            <a:r>
              <a:rPr sz="1800"/>
              <a:t> </a:t>
            </a:r>
            <a:r>
              <a:rPr lang="en-US" sz="1800" err="1"/>
              <a:t>miembros</a:t>
            </a:r>
            <a:r>
              <a:rPr sz="1800"/>
              <a:t> a </a:t>
            </a:r>
            <a:r>
              <a:rPr lang="en-US" sz="1800" err="1"/>
              <a:t>obtener</a:t>
            </a:r>
            <a:r>
              <a:rPr sz="1800"/>
              <a:t> </a:t>
            </a:r>
            <a:r>
              <a:rPr lang="en-US" sz="1800" err="1"/>
              <a:t>certificados</a:t>
            </a:r>
            <a:r>
              <a:rPr sz="1800"/>
              <a:t> que </a:t>
            </a:r>
            <a:r>
              <a:rPr lang="en-US" sz="1800" err="1"/>
              <a:t>los</a:t>
            </a:r>
            <a:r>
              <a:rPr sz="1800"/>
              <a:t> </a:t>
            </a:r>
            <a:r>
              <a:rPr lang="en-US" sz="1800" err="1"/>
              <a:t>capacita</a:t>
            </a:r>
            <a:r>
              <a:rPr sz="1800"/>
              <a:t> para un </a:t>
            </a:r>
            <a:r>
              <a:rPr lang="en-US" sz="1800" err="1"/>
              <a:t>trabajo</a:t>
            </a:r>
            <a:r>
              <a:rPr sz="1800"/>
              <a:t> y un </a:t>
            </a:r>
            <a:r>
              <a:rPr lang="en-US" sz="1800" err="1"/>
              <a:t>título</a:t>
            </a:r>
            <a:r>
              <a:rPr sz="1800"/>
              <a:t> para </a:t>
            </a:r>
            <a:r>
              <a:rPr lang="en-US" sz="1800" err="1"/>
              <a:t>establecer</a:t>
            </a:r>
            <a:r>
              <a:rPr sz="1800"/>
              <a:t> o </a:t>
            </a:r>
            <a:r>
              <a:rPr lang="en-US" sz="1800" err="1"/>
              <a:t>hacer</a:t>
            </a:r>
            <a:r>
              <a:rPr sz="1800"/>
              <a:t> la </a:t>
            </a:r>
            <a:r>
              <a:rPr lang="en-US" sz="1800" err="1"/>
              <a:t>transición</a:t>
            </a:r>
            <a:r>
              <a:rPr sz="1800"/>
              <a:t> a </a:t>
            </a:r>
            <a:r>
              <a:rPr lang="en-US" sz="1800" err="1"/>
              <a:t>una</a:t>
            </a:r>
            <a:r>
              <a:rPr sz="1800"/>
              <a:t> </a:t>
            </a:r>
            <a:r>
              <a:rPr lang="en-US" sz="1800" err="1"/>
              <a:t>carrera</a:t>
            </a:r>
            <a:r>
              <a:rPr sz="1800"/>
              <a:t>.</a:t>
            </a:r>
          </a:p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sz="2400" b="1">
                <a:solidFill>
                  <a:srgbClr val="3793A7"/>
                </a:solidFill>
              </a:rPr>
              <a:t>HABLANTES NO NATIVOS DE INGLÉS</a:t>
            </a:r>
            <a:br>
              <a:rPr lang="en-US" sz="1800"/>
            </a:br>
            <a:r>
              <a:rPr sz="1800"/>
              <a:t>BYU-Pathway </a:t>
            </a:r>
            <a:r>
              <a:rPr lang="en-US" sz="1800" err="1"/>
              <a:t>proporciona</a:t>
            </a:r>
            <a:r>
              <a:rPr sz="1800"/>
              <a:t> </a:t>
            </a:r>
            <a:r>
              <a:rPr lang="en-US" sz="1800" err="1"/>
              <a:t>herramientas</a:t>
            </a:r>
            <a:r>
              <a:rPr sz="1800"/>
              <a:t> para </a:t>
            </a:r>
            <a:r>
              <a:rPr lang="en-US" sz="1800" err="1"/>
              <a:t>mejorar</a:t>
            </a:r>
            <a:r>
              <a:rPr sz="1800"/>
              <a:t> las </a:t>
            </a:r>
            <a:r>
              <a:rPr lang="en-US" sz="1800" err="1"/>
              <a:t>habilidades</a:t>
            </a:r>
            <a:r>
              <a:rPr sz="1800"/>
              <a:t> </a:t>
            </a:r>
            <a:r>
              <a:rPr lang="en-US" sz="1800" err="1"/>
              <a:t>en</a:t>
            </a:r>
            <a:r>
              <a:rPr sz="1800"/>
              <a:t> </a:t>
            </a:r>
            <a:r>
              <a:rPr lang="en-US" sz="1800" err="1"/>
              <a:t>inglés</a:t>
            </a:r>
            <a:r>
              <a:rPr sz="1800"/>
              <a:t> y la </a:t>
            </a:r>
            <a:r>
              <a:rPr lang="en-US" sz="1800" err="1"/>
              <a:t>comunicación</a:t>
            </a:r>
            <a:r>
              <a:rPr sz="1800"/>
              <a:t> </a:t>
            </a:r>
            <a:r>
              <a:rPr lang="en-US" sz="1800" err="1"/>
              <a:t>profesional</a:t>
            </a:r>
            <a:r>
              <a:rPr sz="1800"/>
              <a:t>.</a:t>
            </a:r>
            <a:endParaRPr lang="en-US" sz="1800" b="1"/>
          </a:p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sz="2400" b="1">
                <a:solidFill>
                  <a:srgbClr val="3793A7"/>
                </a:solidFill>
              </a:rPr>
              <a:t>AMIGOS DE LA IGLESIA</a:t>
            </a:r>
            <a:br>
              <a:rPr lang="en-US" sz="1800"/>
            </a:br>
            <a:r>
              <a:rPr sz="1800"/>
              <a:t>BYU-Pathway </a:t>
            </a:r>
            <a:r>
              <a:rPr lang="en-US" sz="1800" err="1"/>
              <a:t>puede</a:t>
            </a:r>
            <a:r>
              <a:rPr sz="1800"/>
              <a:t> </a:t>
            </a:r>
            <a:r>
              <a:rPr lang="en-US" sz="1800" err="1"/>
              <a:t>bendecir</a:t>
            </a:r>
            <a:r>
              <a:rPr sz="1800"/>
              <a:t> a las personas que </a:t>
            </a:r>
            <a:r>
              <a:rPr lang="en-US" sz="1800" err="1"/>
              <a:t>tienen</a:t>
            </a:r>
            <a:r>
              <a:rPr sz="1800"/>
              <a:t> </a:t>
            </a:r>
            <a:r>
              <a:rPr lang="en-US" sz="1800" err="1"/>
              <a:t>una</a:t>
            </a:r>
            <a:r>
              <a:rPr sz="1800"/>
              <a:t> </a:t>
            </a:r>
            <a:r>
              <a:rPr lang="en-US" sz="1800" err="1"/>
              <a:t>conexión</a:t>
            </a:r>
            <a:r>
              <a:rPr sz="1800"/>
              <a:t> con la </a:t>
            </a:r>
            <a:r>
              <a:rPr lang="en-US" sz="1800" err="1"/>
              <a:t>Iglesia</a:t>
            </a:r>
            <a:r>
              <a:rPr sz="1800"/>
              <a:t> al </a:t>
            </a:r>
            <a:r>
              <a:rPr lang="en-US" sz="1800" err="1"/>
              <a:t>proporcionar</a:t>
            </a:r>
            <a:r>
              <a:rPr sz="1800"/>
              <a:t> </a:t>
            </a:r>
            <a:r>
              <a:rPr lang="en-US" sz="1800" err="1"/>
              <a:t>una</a:t>
            </a:r>
            <a:r>
              <a:rPr sz="1800"/>
              <a:t> </a:t>
            </a:r>
            <a:r>
              <a:rPr lang="en-US" sz="1800" err="1"/>
              <a:t>educación</a:t>
            </a:r>
            <a:r>
              <a:rPr sz="1800"/>
              <a:t> </a:t>
            </a:r>
            <a:r>
              <a:rPr lang="en-US" sz="1800" err="1"/>
              <a:t>universitaria</a:t>
            </a:r>
            <a:r>
              <a:rPr sz="1800"/>
              <a:t> </a:t>
            </a:r>
            <a:r>
              <a:rPr lang="en-US" sz="1800" err="1"/>
              <a:t>basada</a:t>
            </a:r>
            <a:r>
              <a:rPr sz="1800"/>
              <a:t> </a:t>
            </a:r>
            <a:r>
              <a:rPr lang="en-US" sz="1800" err="1"/>
              <a:t>en</a:t>
            </a:r>
            <a:r>
              <a:rPr sz="1800"/>
              <a:t> la </a:t>
            </a:r>
            <a:r>
              <a:rPr lang="en-US" sz="1800" err="1"/>
              <a:t>espiritualidad</a:t>
            </a:r>
            <a:r>
              <a:rPr sz="1800"/>
              <a:t>.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024E6555-4F67-0341-8758-449993CE3712}"/>
              </a:ext>
            </a:extLst>
          </p:cNvPr>
          <p:cNvSpPr txBox="1">
            <a:spLocks/>
          </p:cNvSpPr>
          <p:nvPr/>
        </p:nvSpPr>
        <p:spPr>
          <a:xfrm>
            <a:off x="538970" y="425082"/>
            <a:ext cx="5789671" cy="616404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 sz="4400">
                <a:latin typeface="+mj-lt"/>
              </a:defRPr>
            </a:pPr>
            <a:r>
              <a:t>Para </a:t>
            </a:r>
            <a:r>
              <a:rPr lang="en-US" err="1"/>
              <a:t>líderes</a:t>
            </a:r>
            <a:r>
              <a:t> de la </a:t>
            </a:r>
            <a:r>
              <a:rPr lang="en-US" err="1"/>
              <a:t>Iglesia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80367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47503E13-8F64-F742-93FC-AB35E05CB03B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6F4071-8806-6945-8B92-7B7F1DFFF3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893C2FB-EF86-FD49-89EB-659751C15892}" type="slidenum">
              <a:rPr lang="en-US" smtClean="0"/>
              <a:t>35</a:t>
            </a:fld>
            <a:endParaRPr lang="en-US"/>
          </a:p>
        </p:txBody>
      </p:sp>
      <p:pic>
        <p:nvPicPr>
          <p:cNvPr id="7" name="Picture 6" descr="A person in a suit smiling  Description automatically generated with medium confidence">
            <a:extLst>
              <a:ext uri="{FF2B5EF4-FFF2-40B4-BE49-F238E27FC236}">
                <a16:creationId xmlns:a16="http://schemas.microsoft.com/office/drawing/2014/main" id="{CDCE9751-9EAE-4A9D-1EB3-AB3FC4AEA01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1743" y="963935"/>
            <a:ext cx="3534234" cy="493012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542E89D-28C6-26AA-5B48-03F7245C11D6}"/>
              </a:ext>
            </a:extLst>
          </p:cNvPr>
          <p:cNvSpPr/>
          <p:nvPr/>
        </p:nvSpPr>
        <p:spPr>
          <a:xfrm>
            <a:off x="10479505" y="0"/>
            <a:ext cx="1712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10" name="Picture 9" descr="Text  Description automatically generated">
            <a:extLst>
              <a:ext uri="{FF2B5EF4-FFF2-40B4-BE49-F238E27FC236}">
                <a16:creationId xmlns:a16="http://schemas.microsoft.com/office/drawing/2014/main" id="{5374F469-08AA-51F7-2DCF-F1ADEA5B21F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849" y="298189"/>
            <a:ext cx="1313807" cy="82610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4B0412D-7645-E7F5-6B50-3BE275894CA4}"/>
              </a:ext>
            </a:extLst>
          </p:cNvPr>
          <p:cNvSpPr txBox="1"/>
          <p:nvPr/>
        </p:nvSpPr>
        <p:spPr>
          <a:xfrm>
            <a:off x="5195475" y="2261969"/>
            <a:ext cx="6431560" cy="193899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3990" indent="-457200">
              <a:defRPr sz="2800">
                <a:solidFill>
                  <a:srgbClr val="58595B"/>
                </a:solidFill>
                <a:latin typeface="Calibri Light"/>
                <a:ea typeface="Roboto Slab Thin"/>
                <a:cs typeface="Roboto Slab Thin"/>
              </a:defRPr>
            </a:pPr>
            <a:r>
              <a:rPr sz="2400"/>
              <a:t>"</a:t>
            </a:r>
            <a:r>
              <a:rPr sz="2400" err="1"/>
              <a:t>Considero</a:t>
            </a:r>
            <a:r>
              <a:rPr sz="2400"/>
              <a:t> que la </a:t>
            </a:r>
            <a:r>
              <a:rPr sz="2400" err="1"/>
              <a:t>creación</a:t>
            </a:r>
            <a:r>
              <a:rPr sz="2400"/>
              <a:t> de BYU-Pathway Worldwide es </a:t>
            </a:r>
            <a:r>
              <a:rPr sz="2400" err="1"/>
              <a:t>el</a:t>
            </a:r>
            <a:r>
              <a:rPr sz="2400"/>
              <a:t> </a:t>
            </a:r>
            <a:r>
              <a:rPr sz="2400" err="1"/>
              <a:t>desarrollo</a:t>
            </a:r>
            <a:r>
              <a:rPr sz="2400"/>
              <a:t> </a:t>
            </a:r>
            <a:r>
              <a:rPr sz="2400" err="1"/>
              <a:t>más</a:t>
            </a:r>
            <a:r>
              <a:rPr sz="2400"/>
              <a:t> </a:t>
            </a:r>
            <a:r>
              <a:rPr sz="2400" err="1"/>
              <a:t>importante</a:t>
            </a:r>
            <a:r>
              <a:rPr sz="2400"/>
              <a:t> y de mayor </a:t>
            </a:r>
            <a:r>
              <a:rPr sz="2400" err="1"/>
              <a:t>alcance</a:t>
            </a:r>
            <a:r>
              <a:rPr sz="2400"/>
              <a:t> </a:t>
            </a:r>
            <a:r>
              <a:rPr sz="2400" err="1"/>
              <a:t>en</a:t>
            </a:r>
            <a:r>
              <a:rPr sz="2400"/>
              <a:t> </a:t>
            </a:r>
            <a:r>
              <a:rPr sz="2400" err="1"/>
              <a:t>el</a:t>
            </a:r>
            <a:r>
              <a:rPr sz="2400"/>
              <a:t> Sistema </a:t>
            </a:r>
            <a:r>
              <a:rPr sz="2400" err="1"/>
              <a:t>Educativo</a:t>
            </a:r>
            <a:r>
              <a:rPr sz="2400"/>
              <a:t> de la Iglesia </a:t>
            </a:r>
            <a:r>
              <a:rPr sz="2400" err="1"/>
              <a:t>desde</a:t>
            </a:r>
            <a:r>
              <a:rPr sz="2400"/>
              <a:t> la </a:t>
            </a:r>
            <a:r>
              <a:rPr sz="2400" err="1"/>
              <a:t>creación</a:t>
            </a:r>
            <a:r>
              <a:rPr sz="2400"/>
              <a:t> </a:t>
            </a:r>
            <a:r>
              <a:rPr lang="en-US" sz="2400"/>
              <a:t>de </a:t>
            </a:r>
            <a:r>
              <a:rPr lang="en-US" sz="2400" err="1"/>
              <a:t>Seminarios</a:t>
            </a:r>
            <a:r>
              <a:rPr sz="2400"/>
              <a:t> e </a:t>
            </a:r>
            <a:r>
              <a:rPr sz="2400" err="1"/>
              <a:t>Institutos</a:t>
            </a:r>
            <a:r>
              <a:rPr sz="2400"/>
              <a:t> de </a:t>
            </a:r>
            <a:r>
              <a:rPr sz="2400" err="1"/>
              <a:t>Religión</a:t>
            </a:r>
            <a:r>
              <a:rPr sz="2400"/>
              <a:t> </a:t>
            </a:r>
            <a:r>
              <a:rPr sz="2400" err="1"/>
              <a:t>hace</a:t>
            </a:r>
            <a:r>
              <a:rPr sz="2400"/>
              <a:t> </a:t>
            </a:r>
            <a:r>
              <a:rPr sz="2400" err="1"/>
              <a:t>más</a:t>
            </a:r>
            <a:r>
              <a:rPr sz="2400"/>
              <a:t> de un </a:t>
            </a:r>
            <a:r>
              <a:rPr sz="2400" err="1"/>
              <a:t>siglo</a:t>
            </a:r>
            <a:r>
              <a:rPr sz="2400"/>
              <a:t>".</a:t>
            </a:r>
            <a:endParaRPr lang="en-US" sz="2400">
              <a:latin typeface="Calibri Ligh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D914A09-610E-2F5B-D278-DA9A86C102E6}"/>
              </a:ext>
            </a:extLst>
          </p:cNvPr>
          <p:cNvSpPr txBox="1"/>
          <p:nvPr/>
        </p:nvSpPr>
        <p:spPr>
          <a:xfrm>
            <a:off x="5363671" y="5104725"/>
            <a:ext cx="5622616" cy="89255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 sz="2000">
                <a:solidFill>
                  <a:srgbClr val="656365"/>
                </a:solidFill>
                <a:latin typeface="Calibri Light"/>
                <a:ea typeface="Calibri Light"/>
                <a:cs typeface="Calibri Light"/>
              </a:defRPr>
            </a:pPr>
            <a:r>
              <a:t>ÉLDER JEFFREY R. HOLLAND</a:t>
            </a:r>
          </a:p>
          <a:p>
            <a:pPr>
              <a:defRPr sz="1600" i="1">
                <a:solidFill>
                  <a:srgbClr val="656365"/>
                </a:solidFill>
                <a:latin typeface="Calibri Light"/>
                <a:ea typeface="Calibri Light"/>
                <a:cs typeface="Calibri Light"/>
              </a:defRPr>
            </a:pPr>
            <a:r>
              <a:t>"Inauguration Remarks" (BYU-Pathway Worldwide Inauguration, March 10, 2022), byupathway.org/speeches</a:t>
            </a:r>
            <a:endParaRPr lang="en-US" sz="1600" i="1">
              <a:latin typeface="Calibri Light"/>
              <a:ea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1978917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C5A964E-2B82-7742-809E-9CBF786AEDB8}"/>
              </a:ext>
            </a:extLst>
          </p:cNvPr>
          <p:cNvSpPr/>
          <p:nvPr/>
        </p:nvSpPr>
        <p:spPr>
          <a:xfrm>
            <a:off x="-163286" y="-174171"/>
            <a:ext cx="12475029" cy="7162800"/>
          </a:xfrm>
          <a:prstGeom prst="rect">
            <a:avLst/>
          </a:prstGeom>
          <a:solidFill>
            <a:srgbClr val="69B34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1026" name="Picture 2" descr="A black and white logo&#10;&#10;Description automatically generated">
            <a:extLst>
              <a:ext uri="{FF2B5EF4-FFF2-40B4-BE49-F238E27FC236}">
                <a16:creationId xmlns:a16="http://schemas.microsoft.com/office/drawing/2014/main" id="{DE5DFED8-D98A-5E4C-A3FB-FF0EBB33E8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5179" y="342062"/>
            <a:ext cx="10368044" cy="5830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B664D1D-D03A-4845-A891-2A6EF834F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665974-E1B7-A94A-85EF-DE1149FD678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38809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A5B2010-AA1E-E049-8D25-A3044190CEF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53470" y="273468"/>
            <a:ext cx="7852978" cy="456363"/>
          </a:xfrm>
        </p:spPr>
        <p:txBody>
          <a:bodyPr/>
          <a:lstStyle/>
          <a:p>
            <a:pPr>
              <a:defRPr sz="4400">
                <a:latin typeface="+mj-lt"/>
              </a:defRPr>
            </a:pPr>
            <a:r>
              <a:t>¿Qué es EnglishConnec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9BDC45-E8FF-3C47-9619-A51C86E2259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602845" y="1393372"/>
            <a:ext cx="9149992" cy="1223425"/>
          </a:xfrm>
        </p:spPr>
        <p:txBody>
          <a:bodyPr anchor="t">
            <a:noAutofit/>
          </a:bodyPr>
          <a:lstStyle/>
          <a:p>
            <a:pPr marL="0" indent="0" algn="ctr">
              <a:lnSpc>
                <a:spcPct val="110000"/>
              </a:lnSpc>
              <a:spcAft>
                <a:spcPts val="600"/>
              </a:spcAft>
              <a:buNone/>
            </a:pPr>
            <a:r>
              <a:rPr err="1"/>
              <a:t>EnglishConnect</a:t>
            </a:r>
            <a:r>
              <a:t> es un </a:t>
            </a:r>
            <a:r>
              <a:rPr err="1"/>
              <a:t>programa</a:t>
            </a:r>
            <a:r>
              <a:t> de </a:t>
            </a:r>
            <a:r>
              <a:rPr err="1"/>
              <a:t>aprendizaje</a:t>
            </a:r>
            <a:r>
              <a:t> del </a:t>
            </a:r>
            <a:r>
              <a:rPr err="1"/>
              <a:t>idioma</a:t>
            </a:r>
            <a:r>
              <a:t> </a:t>
            </a:r>
            <a:r>
              <a:rPr err="1"/>
              <a:t>inglés</a:t>
            </a:r>
            <a:r>
              <a:t> </a:t>
            </a:r>
            <a:br>
              <a:rPr lang="es-419"/>
            </a:br>
            <a:r>
              <a:rPr err="1"/>
              <a:t>proporcionado</a:t>
            </a:r>
            <a:r>
              <a:t> </a:t>
            </a:r>
            <a:r>
              <a:rPr err="1"/>
              <a:t>por</a:t>
            </a:r>
            <a:r>
              <a:t> La Iglesia de Jesucristo de </a:t>
            </a:r>
            <a:r>
              <a:rPr err="1"/>
              <a:t>los</a:t>
            </a:r>
            <a:r>
              <a:t> Santos de </a:t>
            </a:r>
            <a:r>
              <a:rPr err="1"/>
              <a:t>los</a:t>
            </a:r>
            <a:r>
              <a:t> </a:t>
            </a:r>
            <a:r>
              <a:rPr err="1"/>
              <a:t>Últimos</a:t>
            </a:r>
            <a:r>
              <a:t> Días.</a:t>
            </a:r>
          </a:p>
          <a:p>
            <a:pPr marL="0" indent="0" algn="ctr">
              <a:lnSpc>
                <a:spcPct val="110000"/>
              </a:lnSpc>
              <a:spcAft>
                <a:spcPts val="600"/>
              </a:spcAft>
              <a:buNone/>
            </a:pPr>
            <a:r>
              <a:t>Su </a:t>
            </a:r>
            <a:r>
              <a:rPr err="1"/>
              <a:t>propósito</a:t>
            </a:r>
            <a:r>
              <a:t> es </a:t>
            </a:r>
            <a:r>
              <a:rPr b="1" err="1">
                <a:solidFill>
                  <a:srgbClr val="69B340"/>
                </a:solidFill>
              </a:rPr>
              <a:t>ayudar</a:t>
            </a:r>
            <a:r>
              <a:rPr b="1">
                <a:solidFill>
                  <a:srgbClr val="69B340"/>
                </a:solidFill>
              </a:rPr>
              <a:t> a </a:t>
            </a:r>
            <a:r>
              <a:rPr b="1" err="1">
                <a:solidFill>
                  <a:srgbClr val="69B340"/>
                </a:solidFill>
              </a:rPr>
              <a:t>los</a:t>
            </a:r>
            <a:r>
              <a:rPr b="1">
                <a:solidFill>
                  <a:srgbClr val="69B340"/>
                </a:solidFill>
              </a:rPr>
              <a:t> </a:t>
            </a:r>
            <a:r>
              <a:rPr b="1" err="1">
                <a:solidFill>
                  <a:srgbClr val="69B340"/>
                </a:solidFill>
              </a:rPr>
              <a:t>estudiantes</a:t>
            </a:r>
            <a:r>
              <a:rPr b="1">
                <a:solidFill>
                  <a:srgbClr val="69B340"/>
                </a:solidFill>
              </a:rPr>
              <a:t> a </a:t>
            </a:r>
            <a:r>
              <a:rPr b="1" err="1">
                <a:solidFill>
                  <a:srgbClr val="69B340"/>
                </a:solidFill>
              </a:rPr>
              <a:t>desarrollar</a:t>
            </a:r>
            <a:r>
              <a:rPr b="1">
                <a:solidFill>
                  <a:srgbClr val="69B340"/>
                </a:solidFill>
              </a:rPr>
              <a:t> </a:t>
            </a:r>
            <a:r>
              <a:rPr b="1" err="1">
                <a:solidFill>
                  <a:srgbClr val="69B340"/>
                </a:solidFill>
              </a:rPr>
              <a:t>habilidades</a:t>
            </a:r>
            <a:r>
              <a:rPr b="1">
                <a:solidFill>
                  <a:srgbClr val="69B340"/>
                </a:solidFill>
              </a:rPr>
              <a:t> </a:t>
            </a:r>
            <a:r>
              <a:rPr b="1" err="1">
                <a:solidFill>
                  <a:srgbClr val="69B340"/>
                </a:solidFill>
              </a:rPr>
              <a:t>en</a:t>
            </a:r>
            <a:r>
              <a:rPr b="1">
                <a:solidFill>
                  <a:srgbClr val="69B340"/>
                </a:solidFill>
              </a:rPr>
              <a:t> </a:t>
            </a:r>
            <a:r>
              <a:rPr b="1" err="1">
                <a:solidFill>
                  <a:srgbClr val="69B340"/>
                </a:solidFill>
              </a:rPr>
              <a:t>inglés</a:t>
            </a:r>
            <a:r>
              <a:rPr b="1">
                <a:solidFill>
                  <a:srgbClr val="69B340"/>
                </a:solidFill>
              </a:rPr>
              <a:t> </a:t>
            </a:r>
            <a:r>
              <a:rPr b="1" err="1">
                <a:solidFill>
                  <a:srgbClr val="69B340"/>
                </a:solidFill>
              </a:rPr>
              <a:t>en</a:t>
            </a:r>
            <a:r>
              <a:rPr b="1">
                <a:solidFill>
                  <a:srgbClr val="69B340"/>
                </a:solidFill>
              </a:rPr>
              <a:t> un </a:t>
            </a:r>
            <a:r>
              <a:rPr b="1" err="1">
                <a:solidFill>
                  <a:srgbClr val="69B340"/>
                </a:solidFill>
              </a:rPr>
              <a:t>ambiente</a:t>
            </a:r>
            <a:r>
              <a:rPr b="1">
                <a:solidFill>
                  <a:srgbClr val="69B340"/>
                </a:solidFill>
              </a:rPr>
              <a:t> de </a:t>
            </a:r>
            <a:r>
              <a:rPr b="1" err="1">
                <a:solidFill>
                  <a:srgbClr val="69B340"/>
                </a:solidFill>
              </a:rPr>
              <a:t>fe</a:t>
            </a:r>
            <a:r>
              <a:rPr b="1">
                <a:solidFill>
                  <a:srgbClr val="69B340"/>
                </a:solidFill>
              </a:rPr>
              <a:t>, </a:t>
            </a:r>
            <a:r>
              <a:rPr b="1" err="1">
                <a:solidFill>
                  <a:srgbClr val="69B340"/>
                </a:solidFill>
              </a:rPr>
              <a:t>compañerismo</a:t>
            </a:r>
            <a:r>
              <a:rPr b="1">
                <a:solidFill>
                  <a:srgbClr val="69B340"/>
                </a:solidFill>
              </a:rPr>
              <a:t> y </a:t>
            </a:r>
            <a:r>
              <a:rPr b="1" err="1">
                <a:solidFill>
                  <a:srgbClr val="69B340"/>
                </a:solidFill>
              </a:rPr>
              <a:t>crecimiento</a:t>
            </a:r>
            <a:r>
              <a:rPr b="1">
                <a:solidFill>
                  <a:srgbClr val="69B340"/>
                </a:solidFill>
              </a:rPr>
              <a:t>. </a:t>
            </a:r>
            <a:r>
              <a:rPr err="1">
                <a:cs typeface="Calibri Light"/>
              </a:rPr>
              <a:t>EnglishConnect</a:t>
            </a:r>
            <a:r>
              <a:rPr>
                <a:cs typeface="Calibri Light"/>
              </a:rPr>
              <a:t> </a:t>
            </a:r>
            <a:r>
              <a:rPr err="1">
                <a:cs typeface="Calibri Light"/>
              </a:rPr>
              <a:t>ayuda</a:t>
            </a:r>
            <a:r>
              <a:rPr>
                <a:cs typeface="Calibri Light"/>
              </a:rPr>
              <a:t> a </a:t>
            </a:r>
            <a:r>
              <a:rPr err="1">
                <a:cs typeface="Calibri Light"/>
              </a:rPr>
              <a:t>los</a:t>
            </a:r>
            <a:r>
              <a:rPr>
                <a:cs typeface="Calibri Light"/>
              </a:rPr>
              <a:t> </a:t>
            </a:r>
            <a:r>
              <a:rPr err="1">
                <a:cs typeface="Calibri Light"/>
              </a:rPr>
              <a:t>estudiantes</a:t>
            </a:r>
            <a:r>
              <a:rPr>
                <a:cs typeface="Calibri Light"/>
              </a:rPr>
              <a:t> a:</a:t>
            </a:r>
            <a:endParaRPr lang="en-US">
              <a:ea typeface="Calibri"/>
              <a:cs typeface="Calibri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4FCF43-E4C8-D64C-86C6-C8705D0B98CC}"/>
              </a:ext>
            </a:extLst>
          </p:cNvPr>
          <p:cNvSpPr txBox="1"/>
          <p:nvPr/>
        </p:nvSpPr>
        <p:spPr>
          <a:xfrm>
            <a:off x="1699810" y="5942431"/>
            <a:ext cx="8646473" cy="76944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defRPr sz="2200"/>
            </a:pPr>
            <a:r>
              <a:rPr>
                <a:solidFill>
                  <a:srgbClr val="313031"/>
                </a:solidFill>
              </a:rPr>
              <a:t>El aumento del dominio del inglés puede </a:t>
            </a:r>
            <a:r>
              <a:rPr b="1">
                <a:solidFill>
                  <a:srgbClr val="69B340"/>
                </a:solidFill>
              </a:rPr>
              <a:t>ampliar la educación, el empleo y las oportunidades de servicio</a:t>
            </a:r>
            <a:r>
              <a:t>. </a:t>
            </a:r>
            <a:r>
              <a:rPr>
                <a:solidFill>
                  <a:srgbClr val="A3C23C"/>
                </a:solidFill>
              </a:rPr>
              <a:t>​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2EC1AA-8277-3B4B-BB51-1DB80275D1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893C2FB-EF86-FD49-89EB-659751C15892}" type="slidenum">
              <a:rPr lang="en-US" smtClean="0"/>
              <a:t>37</a:t>
            </a:fld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AC10C53-CE1E-C07C-F017-8AB8465A632A}"/>
              </a:ext>
            </a:extLst>
          </p:cNvPr>
          <p:cNvSpPr/>
          <p:nvPr/>
        </p:nvSpPr>
        <p:spPr>
          <a:xfrm>
            <a:off x="0" y="-1"/>
            <a:ext cx="3563007" cy="1174139"/>
          </a:xfrm>
          <a:prstGeom prst="rect">
            <a:avLst/>
          </a:prstGeom>
          <a:solidFill>
            <a:srgbClr val="69B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22" name="Picture 21" descr="Logo  Description automatically generated">
            <a:extLst>
              <a:ext uri="{FF2B5EF4-FFF2-40B4-BE49-F238E27FC236}">
                <a16:creationId xmlns:a16="http://schemas.microsoft.com/office/drawing/2014/main" id="{B376F3D2-7ED1-7B40-CA0B-45384B3D64D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0767"/>
            <a:ext cx="3563006" cy="712601"/>
          </a:xfrm>
          <a:prstGeom prst="rect">
            <a:avLst/>
          </a:prstGeom>
        </p:spPr>
      </p:pic>
      <p:pic>
        <p:nvPicPr>
          <p:cNvPr id="13" name="Picture 12" descr="Icon  Description automatically generated">
            <a:extLst>
              <a:ext uri="{FF2B5EF4-FFF2-40B4-BE49-F238E27FC236}">
                <a16:creationId xmlns:a16="http://schemas.microsoft.com/office/drawing/2014/main" id="{B91B2496-EC52-45F4-08D6-0ADC0A2ABE5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1944" y="3587364"/>
            <a:ext cx="1461339" cy="1461339"/>
          </a:xfrm>
          <a:prstGeom prst="rect">
            <a:avLst/>
          </a:prstGeom>
        </p:spPr>
      </p:pic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30BBF45B-756D-2663-3D20-DC7F4904A854}"/>
              </a:ext>
            </a:extLst>
          </p:cNvPr>
          <p:cNvSpPr txBox="1">
            <a:spLocks/>
          </p:cNvSpPr>
          <p:nvPr/>
        </p:nvSpPr>
        <p:spPr>
          <a:xfrm>
            <a:off x="5212806" y="4868337"/>
            <a:ext cx="1959613" cy="702487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6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defRPr sz="2000" b="1"/>
            </a:pPr>
            <a:r>
              <a:t>Convertirse en estudiantes capaces</a:t>
            </a:r>
          </a:p>
        </p:txBody>
      </p:sp>
      <p:pic>
        <p:nvPicPr>
          <p:cNvPr id="27" name="Picture 26" descr="Icon  Description automatically generated">
            <a:extLst>
              <a:ext uri="{FF2B5EF4-FFF2-40B4-BE49-F238E27FC236}">
                <a16:creationId xmlns:a16="http://schemas.microsoft.com/office/drawing/2014/main" id="{4BAF6CAB-4705-4731-9003-F1DFBA8F224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6245" y="3472262"/>
            <a:ext cx="1329728" cy="1329728"/>
          </a:xfrm>
          <a:prstGeom prst="rect">
            <a:avLst/>
          </a:prstGeom>
        </p:spPr>
      </p:pic>
      <p:pic>
        <p:nvPicPr>
          <p:cNvPr id="29" name="Picture 28" descr="Text, icon  Description automatically generated with medium confidence">
            <a:extLst>
              <a:ext uri="{FF2B5EF4-FFF2-40B4-BE49-F238E27FC236}">
                <a16:creationId xmlns:a16="http://schemas.microsoft.com/office/drawing/2014/main" id="{2B9A1C7A-A0F1-EB7C-34C1-1E59B2DCD9B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7948" y="3538609"/>
            <a:ext cx="1558849" cy="1558849"/>
          </a:xfrm>
          <a:prstGeom prst="rect">
            <a:avLst/>
          </a:prstGeom>
        </p:spPr>
      </p:pic>
      <p:sp>
        <p:nvSpPr>
          <p:cNvPr id="31" name="Text Placeholder 1">
            <a:extLst>
              <a:ext uri="{FF2B5EF4-FFF2-40B4-BE49-F238E27FC236}">
                <a16:creationId xmlns:a16="http://schemas.microsoft.com/office/drawing/2014/main" id="{CE6A8DC2-A2DE-657D-9DFC-C4720DE07321}"/>
              </a:ext>
            </a:extLst>
          </p:cNvPr>
          <p:cNvSpPr txBox="1">
            <a:spLocks/>
          </p:cNvSpPr>
          <p:nvPr/>
        </p:nvSpPr>
        <p:spPr>
          <a:xfrm>
            <a:off x="8413445" y="4868337"/>
            <a:ext cx="1644633" cy="702487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6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defRPr sz="2000" b="1"/>
            </a:pPr>
            <a:r>
              <a:t>Desarrollar habilidades en inglés</a:t>
            </a:r>
          </a:p>
        </p:txBody>
      </p:sp>
      <p:sp>
        <p:nvSpPr>
          <p:cNvPr id="32" name="Text Placeholder 1">
            <a:extLst>
              <a:ext uri="{FF2B5EF4-FFF2-40B4-BE49-F238E27FC236}">
                <a16:creationId xmlns:a16="http://schemas.microsoft.com/office/drawing/2014/main" id="{B2BF4912-441D-3A95-0717-2E3D95E4072A}"/>
              </a:ext>
            </a:extLst>
          </p:cNvPr>
          <p:cNvSpPr txBox="1">
            <a:spLocks/>
          </p:cNvSpPr>
          <p:nvPr/>
        </p:nvSpPr>
        <p:spPr>
          <a:xfrm>
            <a:off x="2261303" y="4868337"/>
            <a:ext cx="1959613" cy="702487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6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defRPr sz="2000" b="1"/>
            </a:pPr>
            <a:r>
              <a:t>Aumentar la fe en Jesucristo</a:t>
            </a:r>
          </a:p>
        </p:txBody>
      </p:sp>
    </p:spTree>
    <p:extLst>
      <p:ext uri="{BB962C8B-B14F-4D97-AF65-F5344CB8AC3E}">
        <p14:creationId xmlns:p14="http://schemas.microsoft.com/office/powerpoint/2010/main" val="307215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8403070-DEEB-8143-B9ED-F146907EEFC3}"/>
              </a:ext>
            </a:extLst>
          </p:cNvPr>
          <p:cNvSpPr txBox="1"/>
          <p:nvPr/>
        </p:nvSpPr>
        <p:spPr>
          <a:xfrm>
            <a:off x="660608" y="3917596"/>
            <a:ext cx="11045840" cy="7694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 sz="2200"/>
            </a:pPr>
            <a:r>
              <a:rPr err="1"/>
              <a:t>Incluye</a:t>
            </a:r>
            <a:r>
              <a:t> </a:t>
            </a:r>
            <a:r>
              <a:rPr err="1"/>
              <a:t>tres</a:t>
            </a:r>
            <a:r>
              <a:t> </a:t>
            </a:r>
            <a:r>
              <a:rPr err="1"/>
              <a:t>cursos</a:t>
            </a:r>
            <a:r>
              <a:t> para </a:t>
            </a:r>
            <a:r>
              <a:rPr err="1"/>
              <a:t>ayudar</a:t>
            </a:r>
            <a:r>
              <a:t> a </a:t>
            </a:r>
            <a:r>
              <a:rPr err="1"/>
              <a:t>los</a:t>
            </a:r>
            <a:r>
              <a:t> </a:t>
            </a:r>
            <a:r>
              <a:rPr err="1"/>
              <a:t>estudiantes</a:t>
            </a:r>
            <a:r>
              <a:t> a </a:t>
            </a:r>
            <a:r>
              <a:rPr err="1"/>
              <a:t>progresar</a:t>
            </a:r>
            <a:r>
              <a:t> de un </a:t>
            </a:r>
            <a:r>
              <a:rPr b="1" err="1">
                <a:solidFill>
                  <a:srgbClr val="69B340"/>
                </a:solidFill>
              </a:rPr>
              <a:t>nivel</a:t>
            </a:r>
            <a:r>
              <a:rPr b="1">
                <a:solidFill>
                  <a:srgbClr val="69B340"/>
                </a:solidFill>
              </a:rPr>
              <a:t> de </a:t>
            </a:r>
            <a:r>
              <a:rPr b="1" err="1">
                <a:solidFill>
                  <a:srgbClr val="69B340"/>
                </a:solidFill>
              </a:rPr>
              <a:t>inglés</a:t>
            </a:r>
            <a:r>
              <a:rPr b="1">
                <a:solidFill>
                  <a:srgbClr val="69B340"/>
                </a:solidFill>
              </a:rPr>
              <a:t> </a:t>
            </a:r>
            <a:r>
              <a:rPr b="1" err="1">
                <a:solidFill>
                  <a:srgbClr val="69B340"/>
                </a:solidFill>
              </a:rPr>
              <a:t>básico</a:t>
            </a:r>
            <a:r>
              <a:rPr b="1">
                <a:solidFill>
                  <a:srgbClr val="69B340"/>
                </a:solidFill>
              </a:rPr>
              <a:t> a </a:t>
            </a:r>
            <a:r>
              <a:rPr b="1" err="1">
                <a:solidFill>
                  <a:srgbClr val="69B340"/>
                </a:solidFill>
              </a:rPr>
              <a:t>intermedio</a:t>
            </a:r>
            <a:r>
              <a:rPr lang="en-US" b="1">
                <a:solidFill>
                  <a:srgbClr val="69B340"/>
                </a:solidFill>
              </a:rPr>
              <a:t>.</a:t>
            </a:r>
            <a:endParaRPr b="1">
              <a:solidFill>
                <a:srgbClr val="69B340"/>
              </a:solidFill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C0FA216-8D3D-3047-8BAE-DA379674949C}"/>
              </a:ext>
            </a:extLst>
          </p:cNvPr>
          <p:cNvSpPr txBox="1">
            <a:spLocks/>
          </p:cNvSpPr>
          <p:nvPr/>
        </p:nvSpPr>
        <p:spPr>
          <a:xfrm>
            <a:off x="660608" y="4892118"/>
            <a:ext cx="10483642" cy="739588"/>
          </a:xfrm>
          <a:prstGeom prst="rect">
            <a:avLst/>
          </a:prstGeom>
        </p:spPr>
        <p:txBody>
          <a:bodyPr vert="horz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 sz="2200"/>
            </a:pPr>
            <a:r>
              <a:t>Ayuda a los </a:t>
            </a:r>
            <a:r>
              <a:rPr lang="en-US" err="1"/>
              <a:t>estudiantes</a:t>
            </a:r>
            <a:r>
              <a:rPr lang="en-US"/>
              <a:t> </a:t>
            </a:r>
            <a:r>
              <a:rPr lang="en-US" b="1">
                <a:solidFill>
                  <a:srgbClr val="69B340"/>
                </a:solidFill>
              </a:rPr>
              <a:t>a</a:t>
            </a:r>
            <a:r>
              <a:rPr b="1">
                <a:solidFill>
                  <a:srgbClr val="69B340"/>
                </a:solidFill>
              </a:rPr>
              <a:t> asumir la responsabilidad de su aprendizaje </a:t>
            </a:r>
            <a:r>
              <a:t>y enseñarse unos a otros a </a:t>
            </a:r>
            <a:r>
              <a:rPr b="1">
                <a:solidFill>
                  <a:srgbClr val="69B340"/>
                </a:solidFill>
              </a:rPr>
              <a:t>aprender mediante el estudio y la fe</a:t>
            </a:r>
            <a:r>
              <a:rPr lang="en-US" b="1">
                <a:solidFill>
                  <a:srgbClr val="69B340"/>
                </a:solidFill>
              </a:rPr>
              <a:t>.</a:t>
            </a:r>
            <a:endParaRPr lang="es-419" sz="2200" b="1" i="0" u="none" strike="noStrike" kern="1200" cap="none" spc="0" normalizeH="0" baseline="0" err="1">
              <a:ln>
                <a:noFill/>
              </a:ln>
              <a:solidFill>
                <a:srgbClr val="69B340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D13F077-4AC6-394F-B59D-28A4A9055A36}"/>
              </a:ext>
            </a:extLst>
          </p:cNvPr>
          <p:cNvSpPr txBox="1"/>
          <p:nvPr/>
        </p:nvSpPr>
        <p:spPr>
          <a:xfrm>
            <a:off x="660607" y="5737357"/>
            <a:ext cx="11269455" cy="7694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 sz="2200"/>
            </a:pPr>
            <a:r>
              <a:rPr err="1"/>
              <a:t>EnglishConnect</a:t>
            </a:r>
            <a:r>
              <a:t> 3 </a:t>
            </a:r>
            <a:r>
              <a:rPr b="1" err="1">
                <a:solidFill>
                  <a:srgbClr val="69B340"/>
                </a:solidFill>
              </a:rPr>
              <a:t>prepara</a:t>
            </a:r>
            <a:r>
              <a:rPr b="1">
                <a:solidFill>
                  <a:srgbClr val="69B340"/>
                </a:solidFill>
              </a:rPr>
              <a:t> a </a:t>
            </a:r>
            <a:r>
              <a:rPr b="1" err="1">
                <a:solidFill>
                  <a:srgbClr val="69B340"/>
                </a:solidFill>
              </a:rPr>
              <a:t>los</a:t>
            </a:r>
            <a:r>
              <a:rPr b="1">
                <a:solidFill>
                  <a:srgbClr val="69B340"/>
                </a:solidFill>
              </a:rPr>
              <a:t> </a:t>
            </a:r>
            <a:r>
              <a:rPr b="1" err="1">
                <a:solidFill>
                  <a:srgbClr val="69B340"/>
                </a:solidFill>
              </a:rPr>
              <a:t>estudiantes</a:t>
            </a:r>
            <a:r>
              <a:rPr b="1">
                <a:solidFill>
                  <a:srgbClr val="69B340"/>
                </a:solidFill>
              </a:rPr>
              <a:t> para la </a:t>
            </a:r>
            <a:r>
              <a:rPr b="1" err="1">
                <a:solidFill>
                  <a:srgbClr val="69B340"/>
                </a:solidFill>
              </a:rPr>
              <a:t>educación</a:t>
            </a:r>
            <a:r>
              <a:rPr b="1">
                <a:solidFill>
                  <a:srgbClr val="69B340"/>
                </a:solidFill>
              </a:rPr>
              <a:t> superior </a:t>
            </a:r>
            <a:r>
              <a:rPr>
                <a:solidFill>
                  <a:schemeClr val="accent6"/>
                </a:solidFill>
                <a:latin typeface="Calibri"/>
                <a:cs typeface="Calibri"/>
              </a:rPr>
              <a:t>, </a:t>
            </a:r>
            <a:r>
              <a:rPr err="1">
                <a:solidFill>
                  <a:schemeClr val="accent6"/>
                </a:solidFill>
                <a:latin typeface="Calibri"/>
                <a:cs typeface="Calibri"/>
              </a:rPr>
              <a:t>especialmente</a:t>
            </a:r>
            <a:r>
              <a:rPr lang="en-US">
                <a:solidFill>
                  <a:schemeClr val="accent6"/>
                </a:solidFill>
                <a:latin typeface="Calibri"/>
                <a:cs typeface="Calibri"/>
              </a:rPr>
              <a:t> para</a:t>
            </a:r>
          </a:p>
          <a:p>
            <a:pPr>
              <a:defRPr sz="2200"/>
            </a:pPr>
            <a:r>
              <a:rPr>
                <a:solidFill>
                  <a:schemeClr val="accent6"/>
                </a:solidFill>
                <a:latin typeface="Calibri"/>
                <a:cs typeface="Calibri"/>
              </a:rPr>
              <a:t>BYU-Pathway Worldwide</a:t>
            </a:r>
            <a:r>
              <a:rPr lang="en-US">
                <a:solidFill>
                  <a:schemeClr val="accent6"/>
                </a:solidFill>
                <a:latin typeface="Calibri"/>
                <a:cs typeface="Calibri"/>
              </a:rPr>
              <a:t>.</a:t>
            </a:r>
            <a:endParaRPr>
              <a:solidFill>
                <a:schemeClr val="accent6"/>
              </a:solidFill>
              <a:latin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64DF69-4710-A046-A3A5-B3E2E9A524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893C2FB-EF86-FD49-89EB-659751C15892}" type="slidenum">
              <a:rPr lang="en-US" smtClean="0"/>
              <a:t>38</a:t>
            </a:fld>
            <a:endParaRPr lang="en-US"/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38205E5E-C618-8440-A113-CB41EC11E950}"/>
              </a:ext>
            </a:extLst>
          </p:cNvPr>
          <p:cNvSpPr txBox="1">
            <a:spLocks/>
          </p:cNvSpPr>
          <p:nvPr/>
        </p:nvSpPr>
        <p:spPr>
          <a:xfrm>
            <a:off x="3853470" y="367578"/>
            <a:ext cx="7852978" cy="456363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6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 sz="4400">
                <a:latin typeface="+mj-lt"/>
              </a:defRPr>
            </a:pPr>
            <a:r>
              <a:t>Cursos de EnglishConnec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A8FFCF-E578-2ED6-71FD-72364C316E3C}"/>
              </a:ext>
            </a:extLst>
          </p:cNvPr>
          <p:cNvSpPr/>
          <p:nvPr/>
        </p:nvSpPr>
        <p:spPr>
          <a:xfrm>
            <a:off x="0" y="-1"/>
            <a:ext cx="3563007" cy="1174139"/>
          </a:xfrm>
          <a:prstGeom prst="rect">
            <a:avLst/>
          </a:prstGeom>
          <a:solidFill>
            <a:srgbClr val="69B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11" name="Picture 10" descr="Logo  Description automatically generated">
            <a:extLst>
              <a:ext uri="{FF2B5EF4-FFF2-40B4-BE49-F238E27FC236}">
                <a16:creationId xmlns:a16="http://schemas.microsoft.com/office/drawing/2014/main" id="{9DC994DA-F74B-3828-6B24-1B982CA0553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0767"/>
            <a:ext cx="3563006" cy="712601"/>
          </a:xfrm>
          <a:prstGeom prst="rect">
            <a:avLst/>
          </a:prstGeom>
        </p:spPr>
      </p:pic>
      <p:pic>
        <p:nvPicPr>
          <p:cNvPr id="9" name="Picture 8" descr="A picture containing shape  Description automatically generated">
            <a:extLst>
              <a:ext uri="{FF2B5EF4-FFF2-40B4-BE49-F238E27FC236}">
                <a16:creationId xmlns:a16="http://schemas.microsoft.com/office/drawing/2014/main" id="{D09F6A7E-8767-AB5F-5259-DC7B083CF1F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6781" y="1730593"/>
            <a:ext cx="9438438" cy="1916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  <p:extLst>
    <p:ext uri="{6950BFC3-D8DA-4A85-94F7-54DA5524770B}">
      <p188:commentRel xmlns:p188="http://schemas.microsoft.com/office/powerpoint/2018/8/main" r:id="rId3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C7C379-95DF-CF47-A718-FA0F19C84F9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96528" y="6355080"/>
            <a:ext cx="2743200" cy="365125"/>
          </a:xfrm>
        </p:spPr>
        <p:txBody>
          <a:bodyPr/>
          <a:lstStyle/>
          <a:p>
            <a:fld id="{8893C2FB-EF86-FD49-89EB-659751C15892}" type="slidenum">
              <a:rPr lang="en-US" smtClean="0"/>
              <a:t>3</a:t>
            </a:fld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D9F19DE-3952-F044-B320-A0E2F533E279}"/>
              </a:ext>
            </a:extLst>
          </p:cNvPr>
          <p:cNvSpPr txBox="1"/>
          <p:nvPr/>
        </p:nvSpPr>
        <p:spPr>
          <a:xfrm>
            <a:off x="785369" y="2774426"/>
            <a:ext cx="32723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400" b="1">
                <a:solidFill>
                  <a:schemeClr val="bg1"/>
                </a:solidFill>
              </a:defRPr>
            </a:pPr>
            <a:r>
              <a:t>2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55E97C9-33F8-118B-FDD6-2BCBC8DD2D15}"/>
              </a:ext>
            </a:extLst>
          </p:cNvPr>
          <p:cNvSpPr/>
          <p:nvPr/>
        </p:nvSpPr>
        <p:spPr>
          <a:xfrm>
            <a:off x="10479505" y="0"/>
            <a:ext cx="1712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7" name="Picture 6" descr="Text  Description automatically generated">
            <a:extLst>
              <a:ext uri="{FF2B5EF4-FFF2-40B4-BE49-F238E27FC236}">
                <a16:creationId xmlns:a16="http://schemas.microsoft.com/office/drawing/2014/main" id="{CDCE4342-949B-F53F-0063-5550991BF1E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849" y="298189"/>
            <a:ext cx="1313807" cy="82610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615F437-AACA-9175-406B-64C66D810847}"/>
              </a:ext>
            </a:extLst>
          </p:cNvPr>
          <p:cNvSpPr/>
          <p:nvPr/>
        </p:nvSpPr>
        <p:spPr>
          <a:xfrm>
            <a:off x="5611709" y="1531066"/>
            <a:ext cx="6755593" cy="48150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182880" rIns="274320" bIns="45720" anchor="t" anchorCtr="0"/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  <a:defRPr sz="1900">
                <a:solidFill>
                  <a:schemeClr val="tx1"/>
                </a:solidFill>
                <a:ea typeface="+mn-lt"/>
                <a:cs typeface="+mn-lt"/>
              </a:defRPr>
            </a:pPr>
            <a:r>
              <a:rPr lang="en-US" dirty="0" err="1"/>
              <a:t>Costo</a:t>
            </a:r>
            <a:r>
              <a:rPr dirty="0"/>
              <a:t> </a:t>
            </a:r>
            <a:r>
              <a:rPr lang="en-US" dirty="0" err="1"/>
              <a:t>reducido</a:t>
            </a:r>
            <a:endParaRPr lang="en-US" sz="1900" dirty="0">
              <a:solidFill>
                <a:schemeClr val="tx1"/>
              </a:solidFill>
              <a:cs typeface="Calibri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  <a:defRPr sz="1900">
                <a:solidFill>
                  <a:schemeClr val="tx2"/>
                </a:solidFill>
              </a:defRPr>
            </a:pPr>
            <a:r>
              <a:rPr dirty="0"/>
              <a:t>Seis </a:t>
            </a:r>
            <a:r>
              <a:rPr lang="en-US" dirty="0" err="1"/>
              <a:t>cursos</a:t>
            </a:r>
            <a:r>
              <a:rPr dirty="0"/>
              <a:t> </a:t>
            </a:r>
            <a:r>
              <a:rPr lang="en-US" dirty="0" err="1"/>
              <a:t>fundamentales</a:t>
            </a:r>
            <a:r>
              <a:rPr dirty="0"/>
              <a:t>, </a:t>
            </a:r>
            <a:r>
              <a:rPr lang="en-US" dirty="0" err="1"/>
              <a:t>todos</a:t>
            </a:r>
            <a:r>
              <a:rPr dirty="0"/>
              <a:t> </a:t>
            </a:r>
            <a:r>
              <a:rPr lang="en-US" dirty="0" err="1"/>
              <a:t>cuentan</a:t>
            </a:r>
            <a:r>
              <a:rPr dirty="0"/>
              <a:t> </a:t>
            </a:r>
            <a:br>
              <a:rPr lang="en-US" sz="1900" dirty="0"/>
            </a:br>
            <a:r>
              <a:rPr dirty="0"/>
              <a:t>para un </a:t>
            </a:r>
            <a:r>
              <a:rPr lang="en-US" dirty="0" err="1"/>
              <a:t>título</a:t>
            </a:r>
            <a:endParaRPr lang="en-US" sz="1900" dirty="0">
              <a:solidFill>
                <a:schemeClr val="tx2"/>
              </a:solidFill>
              <a:cs typeface="Calibri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  <a:defRPr sz="1900">
                <a:solidFill>
                  <a:schemeClr val="tx2"/>
                </a:solidFill>
              </a:defRPr>
            </a:pPr>
            <a:r>
              <a:rPr lang="en-US" dirty="0" err="1"/>
              <a:t>Reuniones</a:t>
            </a:r>
            <a:r>
              <a:rPr dirty="0"/>
              <a:t> </a:t>
            </a:r>
            <a:r>
              <a:rPr lang="en-US" dirty="0" err="1"/>
              <a:t>semanales</a:t>
            </a:r>
            <a:r>
              <a:rPr dirty="0"/>
              <a:t> (</a:t>
            </a:r>
            <a:r>
              <a:rPr lang="en-US" dirty="0" err="1"/>
              <a:t>en</a:t>
            </a:r>
            <a:r>
              <a:rPr dirty="0"/>
              <a:t> </a:t>
            </a:r>
            <a:r>
              <a:rPr lang="en-US" dirty="0" err="1"/>
              <a:t>línea</a:t>
            </a:r>
            <a:r>
              <a:rPr dirty="0"/>
              <a:t> o </a:t>
            </a:r>
            <a:r>
              <a:rPr lang="en-US" dirty="0" err="1"/>
              <a:t>en</a:t>
            </a:r>
            <a:r>
              <a:rPr dirty="0"/>
              <a:t> persona) </a:t>
            </a:r>
            <a:r>
              <a:rPr lang="en-US" dirty="0" err="1"/>
              <a:t>durante</a:t>
            </a:r>
            <a:r>
              <a:rPr dirty="0"/>
              <a:t> </a:t>
            </a:r>
            <a:r>
              <a:rPr lang="en-US" dirty="0" err="1"/>
              <a:t>los</a:t>
            </a:r>
            <a:r>
              <a:rPr dirty="0"/>
              <a:t> </a:t>
            </a:r>
            <a:r>
              <a:rPr lang="en-US" dirty="0" err="1"/>
              <a:t>tres</a:t>
            </a:r>
            <a:r>
              <a:rPr dirty="0"/>
              <a:t> </a:t>
            </a:r>
            <a:r>
              <a:rPr lang="en-US" dirty="0" err="1"/>
              <a:t>primeros</a:t>
            </a:r>
            <a:r>
              <a:rPr dirty="0"/>
              <a:t> </a:t>
            </a:r>
            <a:r>
              <a:rPr lang="en-US" dirty="0" err="1"/>
              <a:t>trimestres</a:t>
            </a:r>
            <a:r>
              <a:rPr dirty="0"/>
              <a:t> para </a:t>
            </a:r>
            <a:r>
              <a:rPr lang="en-US" dirty="0" err="1"/>
              <a:t>ofrecer</a:t>
            </a:r>
            <a:r>
              <a:rPr dirty="0"/>
              <a:t> </a:t>
            </a:r>
            <a:r>
              <a:rPr lang="en-US" dirty="0" err="1"/>
              <a:t>apoyo</a:t>
            </a:r>
            <a:r>
              <a:rPr dirty="0"/>
              <a:t> </a:t>
            </a:r>
            <a:r>
              <a:rPr lang="en-US" dirty="0" err="1"/>
              <a:t>adicional</a:t>
            </a:r>
            <a:endParaRPr lang="en-US" sz="1900" dirty="0">
              <a:solidFill>
                <a:schemeClr val="tx2"/>
              </a:solidFill>
              <a:cs typeface="Calibri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  <a:defRPr sz="1900">
                <a:solidFill>
                  <a:schemeClr val="tx2"/>
                </a:solidFill>
              </a:defRPr>
            </a:pPr>
            <a:r>
              <a:rPr dirty="0"/>
              <a:t>No se </a:t>
            </a:r>
            <a:r>
              <a:rPr lang="en-US" dirty="0" err="1"/>
              <a:t>requiere</a:t>
            </a:r>
            <a:r>
              <a:rPr dirty="0"/>
              <a:t> </a:t>
            </a:r>
            <a:r>
              <a:rPr lang="en-US" dirty="0" err="1"/>
              <a:t>haber</a:t>
            </a:r>
            <a:r>
              <a:rPr dirty="0"/>
              <a:t> </a:t>
            </a:r>
            <a:r>
              <a:rPr lang="en-US" dirty="0" err="1"/>
              <a:t>completado</a:t>
            </a:r>
            <a:r>
              <a:rPr dirty="0"/>
              <a:t> la </a:t>
            </a:r>
            <a:r>
              <a:rPr lang="en-US" dirty="0" err="1"/>
              <a:t>escuela</a:t>
            </a:r>
            <a:r>
              <a:rPr dirty="0"/>
              <a:t> </a:t>
            </a:r>
            <a:r>
              <a:rPr lang="en-US" dirty="0" err="1"/>
              <a:t>secundaria</a:t>
            </a:r>
            <a:r>
              <a:rPr dirty="0"/>
              <a:t> (para </a:t>
            </a:r>
            <a:r>
              <a:rPr lang="en-US" dirty="0" err="1"/>
              <a:t>edades</a:t>
            </a:r>
            <a:r>
              <a:rPr dirty="0"/>
              <a:t> 1</a:t>
            </a:r>
            <a:r>
              <a:rPr lang="en-US" dirty="0"/>
              <a:t>8</a:t>
            </a:r>
            <a:r>
              <a:rPr dirty="0"/>
              <a:t>+)</a:t>
            </a:r>
            <a:endParaRPr lang="en-US" sz="1900" dirty="0">
              <a:solidFill>
                <a:schemeClr val="tx2"/>
              </a:solidFill>
              <a:cs typeface="Calibri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  <a:defRPr sz="1900">
                <a:solidFill>
                  <a:schemeClr val="tx1"/>
                </a:solidFill>
                <a:ea typeface="+mn-lt"/>
                <a:cs typeface="+mn-lt"/>
              </a:defRPr>
            </a:pPr>
            <a:r>
              <a:rPr dirty="0"/>
              <a:t>Se </a:t>
            </a:r>
            <a:r>
              <a:rPr lang="en-US" dirty="0" err="1"/>
              <a:t>requiere</a:t>
            </a:r>
            <a:r>
              <a:rPr dirty="0"/>
              <a:t> </a:t>
            </a:r>
            <a:r>
              <a:rPr lang="en-US" dirty="0" err="1"/>
              <a:t>una</a:t>
            </a:r>
            <a:r>
              <a:rPr dirty="0"/>
              <a:t> </a:t>
            </a:r>
            <a:r>
              <a:rPr lang="en-US" dirty="0" err="1"/>
              <a:t>evaluación</a:t>
            </a:r>
            <a:r>
              <a:rPr dirty="0"/>
              <a:t> de </a:t>
            </a:r>
            <a:r>
              <a:rPr lang="en-US" dirty="0" err="1"/>
              <a:t>inglés</a:t>
            </a:r>
            <a:r>
              <a:rPr dirty="0"/>
              <a:t> </a:t>
            </a:r>
            <a:r>
              <a:rPr lang="en-US" dirty="0" err="1"/>
              <a:t>porque</a:t>
            </a:r>
            <a:r>
              <a:rPr dirty="0"/>
              <a:t> </a:t>
            </a:r>
            <a:r>
              <a:rPr lang="en-US" dirty="0" err="1"/>
              <a:t>todos</a:t>
            </a:r>
            <a:r>
              <a:rPr dirty="0"/>
              <a:t> </a:t>
            </a:r>
            <a:r>
              <a:rPr lang="en-US" dirty="0" err="1"/>
              <a:t>los</a:t>
            </a:r>
            <a:r>
              <a:rPr dirty="0"/>
              <a:t> </a:t>
            </a:r>
            <a:r>
              <a:rPr lang="en-US" dirty="0" err="1"/>
              <a:t>cursos</a:t>
            </a:r>
            <a:r>
              <a:rPr dirty="0"/>
              <a:t> </a:t>
            </a:r>
            <a:r>
              <a:rPr lang="en-US" dirty="0" err="1"/>
              <a:t>están</a:t>
            </a:r>
            <a:r>
              <a:rPr dirty="0"/>
              <a:t> </a:t>
            </a:r>
            <a:r>
              <a:rPr lang="en-US" dirty="0" err="1"/>
              <a:t>en</a:t>
            </a:r>
            <a:r>
              <a:rPr dirty="0"/>
              <a:t> </a:t>
            </a:r>
            <a:r>
              <a:rPr lang="en-US" dirty="0" err="1"/>
              <a:t>inglés</a:t>
            </a:r>
            <a:r>
              <a:rPr dirty="0"/>
              <a:t>.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  <a:defRPr sz="1900">
                <a:solidFill>
                  <a:schemeClr val="tx1"/>
                </a:solidFill>
                <a:ea typeface="+mn-lt"/>
                <a:cs typeface="+mn-lt"/>
              </a:defRPr>
            </a:pPr>
            <a:r>
              <a:rPr lang="en-US" dirty="0" err="1"/>
              <a:t>EnglishConnect</a:t>
            </a:r>
            <a:r>
              <a:rPr dirty="0"/>
              <a:t>, un </a:t>
            </a:r>
            <a:r>
              <a:rPr lang="en-US" dirty="0" err="1"/>
              <a:t>programa</a:t>
            </a:r>
            <a:r>
              <a:rPr dirty="0"/>
              <a:t> de </a:t>
            </a:r>
            <a:r>
              <a:rPr lang="en-US" dirty="0" err="1"/>
              <a:t>aprendizaje</a:t>
            </a:r>
            <a:r>
              <a:rPr dirty="0"/>
              <a:t> de </a:t>
            </a:r>
            <a:r>
              <a:rPr lang="en-US" dirty="0" err="1"/>
              <a:t>idiomas</a:t>
            </a:r>
            <a:r>
              <a:rPr dirty="0"/>
              <a:t>, </a:t>
            </a:r>
            <a:br>
              <a:rPr lang="en-US" dirty="0">
                <a:ea typeface="+mn-lt"/>
                <a:cs typeface="+mn-lt"/>
              </a:rPr>
            </a:br>
            <a:r>
              <a:rPr dirty="0"/>
              <a:t>es </a:t>
            </a:r>
            <a:r>
              <a:rPr lang="en-US" dirty="0" err="1"/>
              <a:t>una</a:t>
            </a:r>
            <a:r>
              <a:rPr dirty="0"/>
              <a:t> </a:t>
            </a:r>
            <a:r>
              <a:rPr lang="en-US" dirty="0" err="1"/>
              <a:t>excelente</a:t>
            </a:r>
            <a:r>
              <a:rPr dirty="0"/>
              <a:t> </a:t>
            </a:r>
            <a:r>
              <a:rPr lang="en-US" dirty="0" err="1"/>
              <a:t>opción</a:t>
            </a:r>
            <a:r>
              <a:rPr dirty="0"/>
              <a:t> para </a:t>
            </a:r>
            <a:r>
              <a:rPr lang="en-US" dirty="0" err="1"/>
              <a:t>aquellos</a:t>
            </a:r>
            <a:r>
              <a:rPr dirty="0"/>
              <a:t> que </a:t>
            </a:r>
            <a:r>
              <a:rPr lang="en-US" dirty="0" err="1"/>
              <a:t>necesitan</a:t>
            </a:r>
            <a:r>
              <a:rPr dirty="0"/>
              <a:t> </a:t>
            </a:r>
            <a:r>
              <a:rPr lang="en-US" dirty="0" err="1"/>
              <a:t>desarrollar</a:t>
            </a:r>
            <a:r>
              <a:rPr dirty="0"/>
              <a:t> o </a:t>
            </a:r>
            <a:r>
              <a:rPr lang="en-US" dirty="0" err="1"/>
              <a:t>mejorar</a:t>
            </a:r>
            <a:r>
              <a:rPr dirty="0"/>
              <a:t> sus </a:t>
            </a:r>
            <a:r>
              <a:rPr lang="en-US" dirty="0" err="1"/>
              <a:t>habilidades</a:t>
            </a:r>
            <a:r>
              <a:rPr dirty="0"/>
              <a:t> </a:t>
            </a:r>
            <a:r>
              <a:rPr lang="en-US" dirty="0" err="1"/>
              <a:t>en</a:t>
            </a:r>
            <a:r>
              <a:rPr dirty="0"/>
              <a:t> </a:t>
            </a:r>
            <a:r>
              <a:rPr lang="en-US" dirty="0" err="1"/>
              <a:t>inglés</a:t>
            </a:r>
            <a:r>
              <a:rPr dirty="0"/>
              <a:t>.</a:t>
            </a:r>
            <a:endParaRPr lang="en-US" sz="1900" b="1" dirty="0">
              <a:solidFill>
                <a:schemeClr val="tx2"/>
              </a:solidFill>
              <a:cs typeface="Calibri"/>
            </a:endParaRPr>
          </a:p>
          <a:p>
            <a:pPr>
              <a:spcAft>
                <a:spcPts val="1000"/>
              </a:spcAft>
            </a:pPr>
            <a:endParaRPr lang="en-US" sz="1900" b="1" dirty="0">
              <a:solidFill>
                <a:schemeClr val="tx2"/>
              </a:solidFill>
              <a:cs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900" b="1" dirty="0">
              <a:solidFill>
                <a:schemeClr val="tx2"/>
              </a:solidFill>
              <a:cs typeface="Calibri"/>
            </a:endParaRPr>
          </a:p>
          <a:p>
            <a:endParaRPr lang="en-US" sz="1900" dirty="0">
              <a:solidFill>
                <a:schemeClr val="tx2">
                  <a:lumMod val="90000"/>
                  <a:lumOff val="10000"/>
                </a:schemeClr>
              </a:solidFill>
              <a:cs typeface="Calibri"/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BB15C4F1-E9E5-652F-3489-C6E81DA9DC88}"/>
              </a:ext>
            </a:extLst>
          </p:cNvPr>
          <p:cNvSpPr txBox="1">
            <a:spLocks/>
          </p:cNvSpPr>
          <p:nvPr/>
        </p:nvSpPr>
        <p:spPr>
          <a:xfrm>
            <a:off x="5741826" y="164894"/>
            <a:ext cx="6755593" cy="1258500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 sz="4400">
                <a:latin typeface="+mj-lt"/>
              </a:defRPr>
            </a:pPr>
            <a:r>
              <a:t>Comience con </a:t>
            </a:r>
            <a:br>
              <a:rPr lang="en-US" sz="4400">
                <a:latin typeface="+mj-lt"/>
              </a:rPr>
            </a:br>
            <a:r>
              <a:t>PathwayConnec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48AE5ED-AEA5-53A8-FEEA-391430F96CA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372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646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A person standing in front of a group of people posing for the camera  Description automatically generated">
            <a:extLst>
              <a:ext uri="{FF2B5EF4-FFF2-40B4-BE49-F238E27FC236}">
                <a16:creationId xmlns:a16="http://schemas.microsoft.com/office/drawing/2014/main" id="{D9191A2E-04EE-429A-8871-9D5581EED78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" y="1302748"/>
            <a:ext cx="6401816" cy="424425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16C2258-025C-C243-8098-581E6CD6C09D}"/>
              </a:ext>
            </a:extLst>
          </p:cNvPr>
          <p:cNvSpPr txBox="1"/>
          <p:nvPr/>
        </p:nvSpPr>
        <p:spPr>
          <a:xfrm>
            <a:off x="7015214" y="3911286"/>
            <a:ext cx="453073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 sz="3200" b="1" i="1">
                <a:solidFill>
                  <a:srgbClr val="69B340"/>
                </a:solidFill>
              </a:defRPr>
            </a:pPr>
            <a:r>
              <a:t>EnglishConnect.org/join</a:t>
            </a:r>
          </a:p>
        </p:txBody>
      </p:sp>
      <p:pic>
        <p:nvPicPr>
          <p:cNvPr id="5" name="Picture 4" descr="Logo  Description automatically generated">
            <a:extLst>
              <a:ext uri="{FF2B5EF4-FFF2-40B4-BE49-F238E27FC236}">
                <a16:creationId xmlns:a16="http://schemas.microsoft.com/office/drawing/2014/main" id="{ECB04300-8F09-C9C4-403A-5B9435B1D6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5426" y="2587728"/>
            <a:ext cx="5633050" cy="1126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648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A1C276B-2A33-C049-AEF8-5AF88AD11664}"/>
              </a:ext>
            </a:extLst>
          </p:cNvPr>
          <p:cNvSpPr txBox="1">
            <a:spLocks/>
          </p:cNvSpPr>
          <p:nvPr/>
        </p:nvSpPr>
        <p:spPr>
          <a:xfrm>
            <a:off x="4650748" y="1118940"/>
            <a:ext cx="6755593" cy="616404"/>
          </a:xfrm>
          <a:prstGeom prst="rect">
            <a:avLst/>
          </a:prstGeom>
        </p:spPr>
        <p:txBody>
          <a:bodyPr vert="horz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 sz="4400">
                <a:latin typeface="+mj-lt"/>
              </a:defRPr>
            </a:pPr>
            <a:r>
              <a:rPr sz="3800" err="1"/>
              <a:t>Cómo</a:t>
            </a:r>
            <a:r>
              <a:rPr sz="3800"/>
              <a:t> </a:t>
            </a:r>
            <a:r>
              <a:rPr sz="3800" err="1"/>
              <a:t>servimos</a:t>
            </a:r>
            <a:r>
              <a:rPr sz="3800"/>
              <a:t> a </a:t>
            </a:r>
            <a:r>
              <a:rPr sz="3800" err="1"/>
              <a:t>los</a:t>
            </a:r>
            <a:r>
              <a:rPr sz="3800"/>
              <a:t> </a:t>
            </a:r>
            <a:r>
              <a:rPr sz="3800" err="1"/>
              <a:t>estudiantes</a:t>
            </a:r>
            <a:endParaRPr lang="en-US" sz="3800">
              <a:ea typeface="Calibri Light"/>
              <a:cs typeface="Calibri Ligh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198D0CB-A244-3645-93EF-5E47B40A5F95}"/>
              </a:ext>
            </a:extLst>
          </p:cNvPr>
          <p:cNvSpPr/>
          <p:nvPr/>
        </p:nvSpPr>
        <p:spPr>
          <a:xfrm>
            <a:off x="4664176" y="1855331"/>
            <a:ext cx="5870841" cy="81849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10000"/>
              </a:lnSpc>
              <a:defRPr sz="2200"/>
            </a:pPr>
            <a:r>
              <a:t>BYU-Pathway </a:t>
            </a:r>
            <a:r>
              <a:rPr lang="en-US" err="1"/>
              <a:t>proporciona</a:t>
            </a:r>
            <a:r>
              <a:t> </a:t>
            </a:r>
            <a:r>
              <a:rPr lang="en-US" err="1"/>
              <a:t>apoyo</a:t>
            </a:r>
            <a:r>
              <a:t> y </a:t>
            </a:r>
            <a:r>
              <a:rPr lang="en-US" err="1"/>
              <a:t>recursos</a:t>
            </a:r>
            <a:r>
              <a:t>; </a:t>
            </a:r>
            <a:br>
              <a:rPr lang="en-US"/>
            </a:br>
            <a:r>
              <a:t>BYU-Idaho y Ensign College </a:t>
            </a:r>
            <a:r>
              <a:rPr lang="en-US" err="1"/>
              <a:t>otorgan</a:t>
            </a:r>
            <a:r>
              <a:t> </a:t>
            </a:r>
            <a:r>
              <a:rPr lang="en-US" err="1"/>
              <a:t>los</a:t>
            </a:r>
            <a:r>
              <a:t> </a:t>
            </a:r>
            <a:r>
              <a:rPr lang="en-US" err="1"/>
              <a:t>títulos</a:t>
            </a:r>
            <a:r>
              <a:t>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181B19D-8554-ED4C-8221-8D164BD2AE03}"/>
              </a:ext>
            </a:extLst>
          </p:cNvPr>
          <p:cNvSpPr/>
          <p:nvPr/>
        </p:nvSpPr>
        <p:spPr>
          <a:xfrm>
            <a:off x="4664070" y="3271851"/>
            <a:ext cx="3489833" cy="263918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defRPr sz="2400" b="1">
                <a:solidFill>
                  <a:srgbClr val="3A929D"/>
                </a:solidFill>
              </a:defRPr>
            </a:pPr>
            <a:r>
              <a:t>BYU-PATHWAY </a:t>
            </a:r>
            <a:br>
              <a:rPr lang="en-US" sz="2400" b="1"/>
            </a:br>
            <a:r>
              <a:t>WORLDWIDE</a:t>
            </a:r>
          </a:p>
          <a:p>
            <a:pPr marL="342900" indent="-342900">
              <a:lnSpc>
                <a:spcPct val="150000"/>
              </a:lnSpc>
              <a:spcAft>
                <a:spcPts val="300"/>
              </a:spcAft>
              <a:buFont typeface="Arial"/>
              <a:buChar char="•"/>
              <a:defRPr sz="2000"/>
            </a:pPr>
            <a:r>
              <a:rPr lang="en-US" err="1"/>
              <a:t>Ofrece</a:t>
            </a:r>
            <a:r>
              <a:rPr lang="en-US"/>
              <a:t> </a:t>
            </a:r>
            <a:r>
              <a:rPr lang="en-US" err="1"/>
              <a:t>soporte</a:t>
            </a:r>
            <a:r>
              <a:t> </a:t>
            </a:r>
            <a:r>
              <a:rPr lang="en-US" err="1"/>
              <a:t>en</a:t>
            </a:r>
            <a:r>
              <a:t> </a:t>
            </a:r>
            <a:r>
              <a:rPr lang="en-US" err="1"/>
              <a:t>línea</a:t>
            </a:r>
            <a:endParaRPr lang="en-US" sz="2000">
              <a:cs typeface="Calibri"/>
            </a:endParaRPr>
          </a:p>
          <a:p>
            <a:pPr marL="342900" indent="-342900">
              <a:spcAft>
                <a:spcPts val="300"/>
              </a:spcAft>
              <a:buFont typeface="Arial"/>
              <a:buChar char="•"/>
              <a:defRPr sz="2000"/>
            </a:pPr>
            <a:r>
              <a:rPr lang="en-US" err="1"/>
              <a:t>Acceso</a:t>
            </a:r>
            <a:r>
              <a:t> a </a:t>
            </a:r>
            <a:r>
              <a:rPr lang="en-US" err="1"/>
              <a:t>los</a:t>
            </a:r>
            <a:r>
              <a:t> </a:t>
            </a:r>
            <a:r>
              <a:rPr lang="en-US" err="1"/>
              <a:t>cursos</a:t>
            </a:r>
            <a:endParaRPr lang="en-US" sz="2000">
              <a:cs typeface="Calibri"/>
            </a:endParaRPr>
          </a:p>
          <a:p>
            <a:pPr marL="342900" indent="-342900">
              <a:spcAft>
                <a:spcPts val="300"/>
              </a:spcAft>
              <a:buFont typeface="Arial"/>
              <a:buChar char="•"/>
              <a:defRPr sz="2000"/>
            </a:pPr>
            <a:r>
              <a:rPr lang="en-US" err="1"/>
              <a:t>Asesoramiento</a:t>
            </a:r>
            <a:r>
              <a:t> de </a:t>
            </a:r>
            <a:r>
              <a:rPr lang="en-US" err="1"/>
              <a:t>titulaciones</a:t>
            </a:r>
            <a:endParaRPr lang="en-US" sz="2000">
              <a:cs typeface="Calibri"/>
            </a:endParaRPr>
          </a:p>
          <a:p>
            <a:pPr marL="342900" indent="-342900">
              <a:spcAft>
                <a:spcPts val="300"/>
              </a:spcAft>
              <a:buFont typeface="Arial"/>
              <a:buChar char="•"/>
              <a:defRPr sz="2000"/>
            </a:pPr>
            <a:r>
              <a:rPr lang="en-US" err="1"/>
              <a:t>Inscripción</a:t>
            </a:r>
            <a:r>
              <a:t> al </a:t>
            </a:r>
            <a:r>
              <a:rPr lang="en-US" err="1"/>
              <a:t>curso</a:t>
            </a:r>
            <a:endParaRPr lang="en-US" sz="2000">
              <a:cs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335E6F8-EF19-6242-8508-519A043B3930}"/>
              </a:ext>
            </a:extLst>
          </p:cNvPr>
          <p:cNvSpPr/>
          <p:nvPr/>
        </p:nvSpPr>
        <p:spPr>
          <a:xfrm>
            <a:off x="8246559" y="3272821"/>
            <a:ext cx="3246699" cy="2192908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defRPr sz="2400" b="1">
                <a:solidFill>
                  <a:srgbClr val="3A929D"/>
                </a:solidFill>
              </a:defRPr>
            </a:pPr>
            <a:r>
              <a:t>BYU-IDAHO Y </a:t>
            </a:r>
            <a:br>
              <a:rPr lang="en-US" sz="2400" b="1"/>
            </a:br>
            <a:r>
              <a:t>ENSIGN COLLEGE</a:t>
            </a:r>
            <a:endParaRPr lang="en-US" sz="2000"/>
          </a:p>
          <a:p>
            <a:pPr marL="342900" indent="-342900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/>
              <a:buChar char="•"/>
              <a:defRPr sz="2000"/>
            </a:pPr>
            <a:r>
              <a:rPr lang="en-US" err="1"/>
              <a:t>Construyen</a:t>
            </a:r>
            <a:r>
              <a:t> y </a:t>
            </a:r>
            <a:r>
              <a:rPr lang="en-US" err="1"/>
              <a:t>ofrecen</a:t>
            </a:r>
            <a:r>
              <a:t> </a:t>
            </a:r>
            <a:r>
              <a:rPr lang="en-US" err="1"/>
              <a:t>los</a:t>
            </a:r>
            <a:r>
              <a:t> </a:t>
            </a:r>
            <a:r>
              <a:rPr lang="en-US" err="1"/>
              <a:t>cursos</a:t>
            </a:r>
            <a:endParaRPr lang="en-US" sz="2000">
              <a:cs typeface="Calibri"/>
            </a:endParaRPr>
          </a:p>
          <a:p>
            <a:pPr marL="342900" indent="-342900">
              <a:spcAft>
                <a:spcPts val="300"/>
              </a:spcAft>
              <a:buFont typeface="Arial"/>
              <a:buChar char="•"/>
              <a:defRPr sz="2000"/>
            </a:pPr>
            <a:r>
              <a:rPr lang="en-US" err="1"/>
              <a:t>Otorgan</a:t>
            </a:r>
            <a:r>
              <a:t> </a:t>
            </a:r>
            <a:r>
              <a:rPr lang="en-US" err="1"/>
              <a:t>certificados</a:t>
            </a:r>
            <a:r>
              <a:t> </a:t>
            </a:r>
            <a:br>
              <a:rPr lang="en-US" sz="2000"/>
            </a:br>
            <a:r>
              <a:t>y </a:t>
            </a:r>
            <a:r>
              <a:rPr lang="en-US" err="1"/>
              <a:t>títulos</a:t>
            </a:r>
            <a:r>
              <a:t> </a:t>
            </a:r>
            <a:r>
              <a:rPr lang="en-US" err="1"/>
              <a:t>acreditados</a:t>
            </a:r>
            <a:endParaRPr lang="en-US" sz="2000">
              <a:cs typeface="Calibri"/>
            </a:endParaRP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28C60AF8-9E04-484F-9046-81FA4743541F}"/>
              </a:ext>
            </a:extLst>
          </p:cNvPr>
          <p:cNvSpPr txBox="1">
            <a:spLocks/>
          </p:cNvSpPr>
          <p:nvPr/>
        </p:nvSpPr>
        <p:spPr>
          <a:xfrm>
            <a:off x="879652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93C2FB-EF86-FD49-89EB-659751C15892}" type="slidenum">
              <a:rPr lang="en-US" smtClean="0"/>
              <a:t>4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FDFA615-E1C4-504F-AEFA-040F29D02920}"/>
              </a:ext>
            </a:extLst>
          </p:cNvPr>
          <p:cNvCxnSpPr>
            <a:cxnSpLocks/>
          </p:cNvCxnSpPr>
          <p:nvPr/>
        </p:nvCxnSpPr>
        <p:spPr>
          <a:xfrm>
            <a:off x="7654427" y="3381141"/>
            <a:ext cx="0" cy="213679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7" descr="A yellow and white sign with black text&#10;&#10;Description automatically generated">
            <a:extLst>
              <a:ext uri="{FF2B5EF4-FFF2-40B4-BE49-F238E27FC236}">
                <a16:creationId xmlns:a16="http://schemas.microsoft.com/office/drawing/2014/main" id="{FA1A0FAE-255B-9210-2FE0-2306324811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829" y="1732269"/>
            <a:ext cx="2743200" cy="308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897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CDE96708-9585-B749-8529-C49291D3B33A}"/>
              </a:ext>
            </a:extLst>
          </p:cNvPr>
          <p:cNvSpPr txBox="1">
            <a:spLocks/>
          </p:cNvSpPr>
          <p:nvPr/>
        </p:nvSpPr>
        <p:spPr>
          <a:xfrm>
            <a:off x="8796528" y="6370638"/>
            <a:ext cx="2743200" cy="365125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93C2FB-EF86-FD49-89EB-659751C15892}" type="slidenum">
              <a:rPr lang="en-US" smtClean="0"/>
              <a:t>5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D4EE89B-F66F-EBDD-50D2-5BD046747D71}"/>
              </a:ext>
            </a:extLst>
          </p:cNvPr>
          <p:cNvSpPr/>
          <p:nvPr/>
        </p:nvSpPr>
        <p:spPr>
          <a:xfrm>
            <a:off x="10479505" y="0"/>
            <a:ext cx="1712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11" name="Picture 10" descr="Text  Description automatically generated">
            <a:extLst>
              <a:ext uri="{FF2B5EF4-FFF2-40B4-BE49-F238E27FC236}">
                <a16:creationId xmlns:a16="http://schemas.microsoft.com/office/drawing/2014/main" id="{1F1FB6F8-2804-0CF9-F8A4-52BE128B715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849" y="298189"/>
            <a:ext cx="1313807" cy="826106"/>
          </a:xfrm>
          <a:prstGeom prst="rect">
            <a:avLst/>
          </a:prstGeom>
        </p:spPr>
      </p:pic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2180867A-7A2D-8F56-6F3F-4282B2D6FEA7}"/>
              </a:ext>
            </a:extLst>
          </p:cNvPr>
          <p:cNvSpPr txBox="1">
            <a:spLocks/>
          </p:cNvSpPr>
          <p:nvPr/>
        </p:nvSpPr>
        <p:spPr>
          <a:xfrm>
            <a:off x="847660" y="779656"/>
            <a:ext cx="5390931" cy="616404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 sz="4400">
                <a:latin typeface="+mj-lt"/>
              </a:defRPr>
            </a:pPr>
            <a:r>
              <a:t>Construya un título </a:t>
            </a:r>
          </a:p>
          <a:p>
            <a:pPr marL="0" indent="0">
              <a:buFont typeface="Arial"/>
              <a:buNone/>
              <a:defRPr sz="4400">
                <a:latin typeface="+mj-lt"/>
              </a:defRPr>
            </a:pPr>
            <a:r>
              <a:t>con certificados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4C92C61-E294-ECD3-90F3-9A44ECE5A61A}"/>
              </a:ext>
            </a:extLst>
          </p:cNvPr>
          <p:cNvSpPr/>
          <p:nvPr/>
        </p:nvSpPr>
        <p:spPr>
          <a:xfrm>
            <a:off x="873788" y="2212885"/>
            <a:ext cx="4624804" cy="15633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10000"/>
              </a:lnSpc>
              <a:defRPr sz="2200"/>
            </a:pPr>
            <a:r>
              <a:t>Para </a:t>
            </a:r>
            <a:r>
              <a:rPr err="1"/>
              <a:t>construir</a:t>
            </a:r>
            <a:r>
              <a:t> un </a:t>
            </a:r>
            <a:r>
              <a:rPr err="1"/>
              <a:t>título</a:t>
            </a:r>
            <a:r>
              <a:t>, </a:t>
            </a:r>
            <a:r>
              <a:rPr err="1"/>
              <a:t>seleccione</a:t>
            </a:r>
            <a:r>
              <a:t> </a:t>
            </a:r>
            <a:r>
              <a:rPr err="1"/>
              <a:t>tres</a:t>
            </a:r>
            <a:r>
              <a:t> </a:t>
            </a:r>
            <a:r>
              <a:rPr err="1"/>
              <a:t>certificados</a:t>
            </a:r>
            <a:r>
              <a:t> que se </a:t>
            </a:r>
            <a:r>
              <a:rPr err="1"/>
              <a:t>acumulan</a:t>
            </a:r>
            <a:r>
              <a:t> para </a:t>
            </a:r>
            <a:r>
              <a:rPr err="1"/>
              <a:t>obtener</a:t>
            </a:r>
            <a:r>
              <a:t> un </a:t>
            </a:r>
            <a:r>
              <a:rPr err="1"/>
              <a:t>título</a:t>
            </a:r>
            <a:r>
              <a:t> de </a:t>
            </a:r>
            <a:r>
              <a:rPr lang="en-US" err="1"/>
              <a:t>técnico</a:t>
            </a:r>
            <a:r>
              <a:rPr lang="en-US"/>
              <a:t> superior</a:t>
            </a:r>
            <a:r>
              <a:rPr i="1"/>
              <a:t>, </a:t>
            </a:r>
            <a:r>
              <a:rPr i="1" err="1"/>
              <a:t>así</a:t>
            </a:r>
            <a:r>
              <a:rPr i="1"/>
              <a:t> </a:t>
            </a:r>
            <a:r>
              <a:rPr i="1" err="1"/>
              <a:t>como</a:t>
            </a:r>
            <a:r>
              <a:rPr i="1"/>
              <a:t> </a:t>
            </a:r>
            <a:r>
              <a:t>para </a:t>
            </a:r>
            <a:r>
              <a:rPr err="1"/>
              <a:t>una</a:t>
            </a:r>
            <a:r>
              <a:t> </a:t>
            </a:r>
            <a:r>
              <a:rPr err="1"/>
              <a:t>licenciatura</a:t>
            </a:r>
            <a:r>
              <a:t>.</a:t>
            </a:r>
          </a:p>
        </p:txBody>
      </p:sp>
      <p:pic>
        <p:nvPicPr>
          <p:cNvPr id="4" name="Picture 4" descr="A blue and black background with white text&#10;&#10;Description automatically generated">
            <a:extLst>
              <a:ext uri="{FF2B5EF4-FFF2-40B4-BE49-F238E27FC236}">
                <a16:creationId xmlns:a16="http://schemas.microsoft.com/office/drawing/2014/main" id="{7C74E8FF-45CC-A9BA-92F6-169592D83F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2400" y="2603284"/>
            <a:ext cx="7372709" cy="35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861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9AFACB6B-8F7A-9A50-B603-C4DB727958A5}"/>
              </a:ext>
            </a:extLst>
          </p:cNvPr>
          <p:cNvSpPr/>
          <p:nvPr/>
        </p:nvSpPr>
        <p:spPr>
          <a:xfrm>
            <a:off x="1" y="3034759"/>
            <a:ext cx="10143744" cy="38232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C2CC212-77F9-9146-BFC8-8B9AE9AAB8A6}"/>
              </a:ext>
            </a:extLst>
          </p:cNvPr>
          <p:cNvSpPr txBox="1"/>
          <p:nvPr/>
        </p:nvSpPr>
        <p:spPr>
          <a:xfrm>
            <a:off x="8964930" y="739751"/>
            <a:ext cx="184731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endParaRPr lang="en-US"/>
          </a:p>
        </p:txBody>
      </p:sp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A07D95AC-7670-0242-AED5-8D9CFC4B487B}"/>
              </a:ext>
            </a:extLst>
          </p:cNvPr>
          <p:cNvSpPr txBox="1">
            <a:spLocks/>
          </p:cNvSpPr>
          <p:nvPr/>
        </p:nvSpPr>
        <p:spPr>
          <a:xfrm>
            <a:off x="347433" y="538417"/>
            <a:ext cx="6955575" cy="616404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 sz="4400">
                <a:latin typeface="+mj-lt"/>
              </a:defRPr>
            </a:pPr>
            <a:r>
              <a:t>Ofertas del programa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CC1E558-4DAA-386B-1179-C0D0BB178547}"/>
              </a:ext>
            </a:extLst>
          </p:cNvPr>
          <p:cNvSpPr txBox="1">
            <a:spLocks/>
          </p:cNvSpPr>
          <p:nvPr/>
        </p:nvSpPr>
        <p:spPr>
          <a:xfrm>
            <a:off x="473894" y="3185363"/>
            <a:ext cx="3327867" cy="375127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 sz="2000" b="1">
                <a:latin typeface="Calibri" panose="020F0502020204030204" pitchFamily="34" charset="0"/>
                <a:cs typeface="Calibri" panose="020F0502020204030204" pitchFamily="34" charset="0"/>
              </a:defRPr>
            </a:pPr>
            <a:r>
              <a:t>CERTIFICADO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A8D91E-9E2B-3E60-BC05-352ECCCECD29}"/>
              </a:ext>
            </a:extLst>
          </p:cNvPr>
          <p:cNvSpPr txBox="1"/>
          <p:nvPr/>
        </p:nvSpPr>
        <p:spPr>
          <a:xfrm>
            <a:off x="416263" y="3599107"/>
            <a:ext cx="9851931" cy="2931517"/>
          </a:xfrm>
          <a:prstGeom prst="rect">
            <a:avLst/>
          </a:prstGeom>
          <a:noFill/>
        </p:spPr>
        <p:txBody>
          <a:bodyPr wrap="square" lIns="91440" tIns="45720" rIns="91440" bIns="45720" numCol="3" anchor="t">
            <a:noAutofit/>
          </a:bodyPr>
          <a:lstStyle/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rPr err="1"/>
              <a:t>Asistente</a:t>
            </a:r>
            <a:r>
              <a:t> </a:t>
            </a:r>
            <a:r>
              <a:rPr err="1"/>
              <a:t>Administrativo</a:t>
            </a:r>
            <a:endParaRPr lang="en-US" err="1"/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rPr err="1"/>
              <a:t>Investigación</a:t>
            </a:r>
            <a:r>
              <a:t> Avanzada de Historia Familiar</a:t>
            </a:r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rPr err="1"/>
              <a:t>Contabilidad</a:t>
            </a:r>
            <a:r>
              <a:t> </a:t>
            </a:r>
            <a:r>
              <a:rPr err="1"/>
              <a:t>Básica</a:t>
            </a:r>
            <a:endParaRPr lang="en-US"/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t>Administración de </a:t>
            </a:r>
            <a:r>
              <a:rPr err="1"/>
              <a:t>Empresas</a:t>
            </a:r>
            <a:endParaRPr lang="en-US"/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rPr err="1"/>
              <a:t>Habilidades</a:t>
            </a:r>
            <a:r>
              <a:t> de Negocios y </a:t>
            </a:r>
            <a:r>
              <a:rPr err="1"/>
              <a:t>Liderazgo</a:t>
            </a:r>
            <a:endParaRPr lang="en-US"/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rPr err="1"/>
              <a:t>Fundamentos</a:t>
            </a:r>
            <a:r>
              <a:t> Comerciales</a:t>
            </a:r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rPr err="1"/>
              <a:t>Comunicación</a:t>
            </a:r>
            <a:r>
              <a:t> </a:t>
            </a:r>
            <a:r>
              <a:rPr err="1"/>
              <a:t>Básica</a:t>
            </a:r>
            <a:endParaRPr lang="en-US"/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rPr err="1"/>
              <a:t>Fundamentos</a:t>
            </a:r>
            <a:r>
              <a:t> de la </a:t>
            </a:r>
            <a:r>
              <a:rPr err="1"/>
              <a:t>Comunicación</a:t>
            </a:r>
            <a:endParaRPr lang="en-US"/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t>Salud </a:t>
            </a:r>
            <a:r>
              <a:rPr err="1"/>
              <a:t>Comunitaria</a:t>
            </a:r>
            <a:r>
              <a:t> y Ambiental</a:t>
            </a:r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rPr err="1"/>
              <a:t>Emprendimiento</a:t>
            </a:r>
            <a:endParaRPr lang="en-US"/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rPr err="1"/>
              <a:t>Investigación</a:t>
            </a:r>
            <a:r>
              <a:t> de Historia Familiar</a:t>
            </a:r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rPr err="1"/>
              <a:t>Relaciones</a:t>
            </a:r>
            <a:r>
              <a:t> </a:t>
            </a:r>
            <a:r>
              <a:rPr err="1"/>
              <a:t>Familiares</a:t>
            </a:r>
            <a:endParaRPr lang="en-US"/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rPr err="1"/>
              <a:t>Servicios</a:t>
            </a:r>
            <a:r>
              <a:t> para la Familia</a:t>
            </a:r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rPr err="1"/>
              <a:t>Teoría</a:t>
            </a:r>
            <a:r>
              <a:t> e </a:t>
            </a:r>
            <a:r>
              <a:rPr err="1"/>
              <a:t>Investigación</a:t>
            </a:r>
            <a:r>
              <a:t> Familiar</a:t>
            </a:r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rPr err="1"/>
              <a:t>Fundamentos</a:t>
            </a:r>
            <a:r>
              <a:t> de </a:t>
            </a:r>
            <a:r>
              <a:rPr err="1"/>
              <a:t>Diseño</a:t>
            </a:r>
            <a:r>
              <a:t> </a:t>
            </a:r>
            <a:r>
              <a:rPr err="1"/>
              <a:t>Gráfico</a:t>
            </a:r>
            <a:endParaRPr lang="en-US"/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rPr err="1"/>
              <a:t>Evaluación</a:t>
            </a:r>
            <a:r>
              <a:t> de </a:t>
            </a:r>
            <a:r>
              <a:rPr err="1"/>
              <a:t>Programas</a:t>
            </a:r>
            <a:r>
              <a:t> de Salud</a:t>
            </a:r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rPr err="1"/>
              <a:t>Estrategias</a:t>
            </a:r>
            <a:r>
              <a:t> de </a:t>
            </a:r>
            <a:r>
              <a:rPr err="1"/>
              <a:t>Programas</a:t>
            </a:r>
            <a:r>
              <a:t> de Salud</a:t>
            </a:r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latin typeface="Zoram ldsLat"/>
              </a:defRPr>
            </a:pPr>
            <a:r>
              <a:t>Administración </a:t>
            </a:r>
            <a:r>
              <a:rPr lang="en-US"/>
              <a:t>de </a:t>
            </a:r>
            <a:r>
              <a:rPr lang="en-US" err="1"/>
              <a:t>Hostelería</a:t>
            </a:r>
            <a:r>
              <a:rPr lang="en-US">
                <a:effectLst/>
              </a:rPr>
              <a:t> </a:t>
            </a:r>
            <a:r>
              <a:rPr>
                <a:effectLst/>
              </a:rPr>
              <a:t>y Turismo</a:t>
            </a:r>
            <a:r>
              <a:rPr lang="en-US"/>
              <a:t> </a:t>
            </a:r>
            <a:endParaRPr lang="en-US">
              <a:latin typeface="Zoram ldsLat" panose="020B0603030504020204" pitchFamily="34" charset="0"/>
            </a:endParaRPr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latin typeface="Zoram ldsLat"/>
              </a:defRPr>
            </a:pPr>
            <a:r>
              <a:rPr err="1"/>
              <a:t>Fundamentos</a:t>
            </a:r>
            <a:r>
              <a:t> de TI</a:t>
            </a:r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latin typeface="Zoram ldsLat"/>
              </a:defRPr>
            </a:pPr>
            <a:r>
              <a:rPr err="1"/>
              <a:t>Fundamentos</a:t>
            </a:r>
            <a:r>
              <a:t> </a:t>
            </a:r>
            <a:r>
              <a:rPr lang="en-US"/>
              <a:t>de </a:t>
            </a:r>
            <a:r>
              <a:rPr lang="en-US" err="1"/>
              <a:t>Facturación</a:t>
            </a:r>
            <a:r>
              <a:rPr>
                <a:effectLst/>
              </a:rPr>
              <a:t> y </a:t>
            </a:r>
            <a:r>
              <a:rPr err="1">
                <a:effectLst/>
              </a:rPr>
              <a:t>Codificación</a:t>
            </a:r>
            <a:r>
              <a:rPr>
                <a:effectLst/>
              </a:rPr>
              <a:t> </a:t>
            </a:r>
            <a:r>
              <a:rPr err="1">
                <a:effectLst/>
              </a:rPr>
              <a:t>médica</a:t>
            </a:r>
            <a:r>
              <a:rPr lang="en-US"/>
              <a:t> </a:t>
            </a:r>
            <a:endParaRPr lang="en-US" sz="1400">
              <a:solidFill>
                <a:srgbClr val="3F3F3F"/>
              </a:solidFill>
              <a:effectLst/>
              <a:latin typeface="Zoram ldsLat" panose="020B0603030504020204" pitchFamily="34" charset="0"/>
            </a:endParaRPr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rPr err="1"/>
              <a:t>Gestión</a:t>
            </a:r>
            <a:r>
              <a:t> de Proyectos</a:t>
            </a:r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t>Marketing </a:t>
            </a:r>
            <a:r>
              <a:rPr err="1"/>
              <a:t>en</a:t>
            </a:r>
            <a:r>
              <a:t> Redes </a:t>
            </a:r>
            <a:r>
              <a:rPr err="1"/>
              <a:t>Sociales</a:t>
            </a:r>
            <a:endParaRPr lang="en-US"/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t>Desarrollo de Software</a:t>
            </a:r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t>Administración de Sistemas</a:t>
            </a:r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rPr err="1"/>
              <a:t>Ingeniero</a:t>
            </a:r>
            <a:r>
              <a:t> de </a:t>
            </a:r>
            <a:r>
              <a:rPr err="1"/>
              <a:t>Soporte</a:t>
            </a:r>
            <a:r>
              <a:t> Técnico</a:t>
            </a:r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t>TEFL</a:t>
            </a:r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rPr err="1"/>
              <a:t>Programación</a:t>
            </a:r>
            <a:r>
              <a:t> Web e </a:t>
            </a:r>
            <a:r>
              <a:rPr err="1"/>
              <a:t>Informática</a:t>
            </a:r>
            <a:endParaRPr lang="en-US"/>
          </a:p>
          <a:p>
            <a:pPr>
              <a:spcAft>
                <a:spcPts val="600"/>
              </a:spcAft>
              <a:defRPr sz="1400">
                <a:solidFill>
                  <a:srgbClr val="3F3F3F"/>
                </a:solidFill>
                <a:effectLst/>
                <a:latin typeface="Zoram ldsLat"/>
              </a:defRPr>
            </a:pPr>
            <a:r>
              <a:t>Desarrollo Web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FD1FC5-4BA9-B7E8-0F6C-E6616F7CC091}"/>
              </a:ext>
            </a:extLst>
          </p:cNvPr>
          <p:cNvSpPr/>
          <p:nvPr/>
        </p:nvSpPr>
        <p:spPr>
          <a:xfrm>
            <a:off x="10479505" y="0"/>
            <a:ext cx="1712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12" name="Picture 11" descr="Text  Description automatically generated">
            <a:extLst>
              <a:ext uri="{FF2B5EF4-FFF2-40B4-BE49-F238E27FC236}">
                <a16:creationId xmlns:a16="http://schemas.microsoft.com/office/drawing/2014/main" id="{21CBC0FE-4E8A-A041-05E5-6932EE881F4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849" y="298189"/>
            <a:ext cx="1313807" cy="826106"/>
          </a:xfrm>
          <a:prstGeom prst="rect">
            <a:avLst/>
          </a:prstGeom>
        </p:spPr>
      </p:pic>
      <p:pic>
        <p:nvPicPr>
          <p:cNvPr id="14" name="Picture 13" descr="Qr code  Description automatically generated">
            <a:extLst>
              <a:ext uri="{FF2B5EF4-FFF2-40B4-BE49-F238E27FC236}">
                <a16:creationId xmlns:a16="http://schemas.microsoft.com/office/drawing/2014/main" id="{50D12EBC-6B69-6CDD-13CD-B93740B7981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8005" y="4539209"/>
            <a:ext cx="1485543" cy="1485543"/>
          </a:xfrm>
          <a:prstGeom prst="rect">
            <a:avLst/>
          </a:prstGeom>
        </p:spPr>
      </p:pic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5550BE1B-AFCC-B7D5-9AA6-23335220E768}"/>
              </a:ext>
            </a:extLst>
          </p:cNvPr>
          <p:cNvSpPr txBox="1">
            <a:spLocks/>
          </p:cNvSpPr>
          <p:nvPr/>
        </p:nvSpPr>
        <p:spPr>
          <a:xfrm>
            <a:off x="10333321" y="6066191"/>
            <a:ext cx="1165718" cy="249031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 sz="1200" b="1">
                <a:latin typeface="+mj-lt"/>
              </a:defRPr>
            </a:pPr>
            <a:r>
              <a:t>Lista de </a:t>
            </a:r>
            <a:r>
              <a:rPr lang="en-US" err="1"/>
              <a:t>Titulaciones</a:t>
            </a:r>
            <a:endParaRPr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0D1AAE3-898D-2DC3-95C2-9CB819532B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189" y="1525456"/>
            <a:ext cx="584192" cy="584192"/>
          </a:xfrm>
          <a:prstGeom prst="rect">
            <a:avLst/>
          </a:prstGeom>
        </p:spPr>
      </p:pic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17D727E-1028-802B-8045-03F792C5CB36}"/>
              </a:ext>
            </a:extLst>
          </p:cNvPr>
          <p:cNvSpPr txBox="1">
            <a:spLocks/>
          </p:cNvSpPr>
          <p:nvPr/>
        </p:nvSpPr>
        <p:spPr>
          <a:xfrm>
            <a:off x="237233" y="2275768"/>
            <a:ext cx="1279335" cy="270053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 sz="1400" b="1"/>
            </a:pPr>
            <a:r>
              <a:t>Gestión Empresarial Aplicada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F3D214B1-0C2F-5127-97FB-39A108EA25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81331" y="1484930"/>
            <a:ext cx="665244" cy="665244"/>
          </a:xfrm>
          <a:prstGeom prst="rect">
            <a:avLst/>
          </a:prstGeom>
        </p:spPr>
      </p:pic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5A77A19F-CD5E-F7C5-B11F-5ED8EEE3C2D3}"/>
              </a:ext>
            </a:extLst>
          </p:cNvPr>
          <p:cNvSpPr txBox="1">
            <a:spLocks/>
          </p:cNvSpPr>
          <p:nvPr/>
        </p:nvSpPr>
        <p:spPr>
          <a:xfrm>
            <a:off x="3131112" y="2275768"/>
            <a:ext cx="1279336" cy="214205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 sz="1400" b="1"/>
            </a:pPr>
            <a:r>
              <a:t>Tecnología de la Información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A61257DE-BA9A-D21C-C0DD-05CD2B3EAD6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33683" y="1386714"/>
            <a:ext cx="861676" cy="861677"/>
          </a:xfrm>
          <a:prstGeom prst="rect">
            <a:avLst/>
          </a:prstGeom>
        </p:spPr>
      </p:pic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0BAD8DB-C2EB-1BBC-245C-7102B156F40B}"/>
              </a:ext>
            </a:extLst>
          </p:cNvPr>
          <p:cNvSpPr txBox="1">
            <a:spLocks/>
          </p:cNvSpPr>
          <p:nvPr/>
        </p:nvSpPr>
        <p:spPr>
          <a:xfrm>
            <a:off x="7633683" y="2275769"/>
            <a:ext cx="1034566" cy="302164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 sz="1400" b="1"/>
            </a:pPr>
            <a:r>
              <a:t>Estudios Familiares*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D907D086-736A-450C-F2A4-FC7DA94B633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149661" y="1487985"/>
            <a:ext cx="659134" cy="659135"/>
          </a:xfrm>
          <a:prstGeom prst="rect">
            <a:avLst/>
          </a:prstGeom>
        </p:spPr>
      </p:pic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BEE7202F-449B-9086-3496-720E953F2781}"/>
              </a:ext>
            </a:extLst>
          </p:cNvPr>
          <p:cNvSpPr txBox="1">
            <a:spLocks/>
          </p:cNvSpPr>
          <p:nvPr/>
        </p:nvSpPr>
        <p:spPr>
          <a:xfrm>
            <a:off x="8896685" y="2275769"/>
            <a:ext cx="1216312" cy="302164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 sz="1400" b="1"/>
            </a:pPr>
            <a:r>
              <a:t>Estudios Profesionales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E0125AB4-B442-B6E2-1EBA-9C3D81E2E5F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4812344" y="1526519"/>
            <a:ext cx="582067" cy="582067"/>
          </a:xfrm>
          <a:prstGeom prst="rect">
            <a:avLst/>
          </a:prstGeom>
        </p:spPr>
      </p:pic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62ACE691-91C0-FDA2-05C2-6B489DA36E0B}"/>
              </a:ext>
            </a:extLst>
          </p:cNvPr>
          <p:cNvSpPr txBox="1">
            <a:spLocks/>
          </p:cNvSpPr>
          <p:nvPr/>
        </p:nvSpPr>
        <p:spPr>
          <a:xfrm>
            <a:off x="4614516" y="2275768"/>
            <a:ext cx="952570" cy="249475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 sz="1400" b="1"/>
            </a:pPr>
            <a:r>
              <a:t>Salud Aplicada</a:t>
            </a: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50238DB1-1FA4-DFDF-8190-EA495C01ED5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167648" y="1437322"/>
            <a:ext cx="760459" cy="760459"/>
          </a:xfrm>
          <a:prstGeom prst="rect">
            <a:avLst/>
          </a:prstGeom>
        </p:spPr>
      </p:pic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8AC79D5D-8AB4-1C8B-D4C6-7F14711042AB}"/>
              </a:ext>
            </a:extLst>
          </p:cNvPr>
          <p:cNvSpPr txBox="1">
            <a:spLocks/>
          </p:cNvSpPr>
          <p:nvPr/>
        </p:nvSpPr>
        <p:spPr>
          <a:xfrm>
            <a:off x="5863465" y="2275769"/>
            <a:ext cx="1394439" cy="302164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 sz="1400" b="1"/>
            </a:pPr>
            <a:r>
              <a:t>Comunicaciones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205B6630-5704-5994-DB97-47B0810C0A1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1745313" y="1264613"/>
            <a:ext cx="1105876" cy="1105876"/>
          </a:xfrm>
          <a:prstGeom prst="rect">
            <a:avLst/>
          </a:prstGeom>
        </p:spPr>
      </p:pic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5A89F0E6-E75F-91DF-0CE7-8B1C9BE587FF}"/>
              </a:ext>
            </a:extLst>
          </p:cNvPr>
          <p:cNvSpPr txBox="1">
            <a:spLocks/>
          </p:cNvSpPr>
          <p:nvPr/>
        </p:nvSpPr>
        <p:spPr>
          <a:xfrm>
            <a:off x="1646744" y="2275769"/>
            <a:ext cx="1279336" cy="200896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 sz="1400" b="1"/>
            </a:pPr>
            <a:r>
              <a:t>Desarrollo de Softwar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16DF48E-CA52-29A7-3796-A2B845252115}"/>
              </a:ext>
            </a:extLst>
          </p:cNvPr>
          <p:cNvSpPr txBox="1"/>
          <p:nvPr/>
        </p:nvSpPr>
        <p:spPr>
          <a:xfrm>
            <a:off x="10186416" y="3375603"/>
            <a:ext cx="200558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0650" indent="-109538">
              <a:defRPr sz="1400"/>
            </a:pPr>
            <a:r>
              <a:t>*Los Estudios Familiares consisten en Servicios Familiares y Humanos e Investigación de Historia Familiar</a:t>
            </a:r>
          </a:p>
        </p:txBody>
      </p:sp>
    </p:spTree>
    <p:extLst>
      <p:ext uri="{BB962C8B-B14F-4D97-AF65-F5344CB8AC3E}">
        <p14:creationId xmlns:p14="http://schemas.microsoft.com/office/powerpoint/2010/main" val="30758176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89D4DC2E-C078-3526-1B31-BEA4E21719D4}"/>
              </a:ext>
            </a:extLst>
          </p:cNvPr>
          <p:cNvSpPr/>
          <p:nvPr/>
        </p:nvSpPr>
        <p:spPr>
          <a:xfrm>
            <a:off x="-48787" y="1816096"/>
            <a:ext cx="12302364" cy="28537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EA71D5DF-E7DC-3741-8D95-947602EF5B8B}"/>
              </a:ext>
            </a:extLst>
          </p:cNvPr>
          <p:cNvSpPr txBox="1">
            <a:spLocks/>
          </p:cNvSpPr>
          <p:nvPr/>
        </p:nvSpPr>
        <p:spPr>
          <a:xfrm>
            <a:off x="879652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93C2FB-EF86-FD49-89EB-659751C15892}" type="slidenum">
              <a:rPr lang="en-US" smtClean="0"/>
              <a:t>7</a:t>
            </a:fld>
            <a:endParaRPr lang="en-US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16521770-80B6-B447-80F3-E433B45DFE28}"/>
              </a:ext>
            </a:extLst>
          </p:cNvPr>
          <p:cNvSpPr txBox="1">
            <a:spLocks/>
          </p:cNvSpPr>
          <p:nvPr/>
        </p:nvSpPr>
        <p:spPr>
          <a:xfrm>
            <a:off x="61467" y="801353"/>
            <a:ext cx="9783709" cy="915488"/>
          </a:xfrm>
          <a:prstGeom prst="rect">
            <a:avLst/>
          </a:prstGeom>
        </p:spPr>
        <p:txBody>
          <a:bodyPr vert="horz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None/>
              <a:defRPr sz="4400">
                <a:latin typeface="Calibri Light"/>
                <a:ea typeface="Calibri Light"/>
                <a:cs typeface="Calibri Light"/>
              </a:defRPr>
            </a:pPr>
            <a:r>
              <a:t>BYU-Pathway ayuda a los estudiantes a..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61D94E2-836E-EE4F-AC2E-903DE5C55B97}"/>
              </a:ext>
            </a:extLst>
          </p:cNvPr>
          <p:cNvSpPr txBox="1"/>
          <p:nvPr/>
        </p:nvSpPr>
        <p:spPr>
          <a:xfrm>
            <a:off x="9774122" y="5135693"/>
            <a:ext cx="2123788" cy="1077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 sz="3200" b="1">
                <a:solidFill>
                  <a:schemeClr val="tx1">
                    <a:lumMod val="75000"/>
                    <a:lumOff val="25000"/>
                  </a:schemeClr>
                </a:solidFill>
              </a:defRPr>
            </a:pPr>
            <a:r>
              <a:t>Encontrar un camino</a:t>
            </a:r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DF252B8-74CF-F44D-9C66-D414C0B370E9}"/>
              </a:ext>
            </a:extLst>
          </p:cNvPr>
          <p:cNvSpPr txBox="1"/>
          <p:nvPr/>
        </p:nvSpPr>
        <p:spPr>
          <a:xfrm>
            <a:off x="4955917" y="5136914"/>
            <a:ext cx="2840646" cy="1077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 sz="32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defRPr>
            </a:pPr>
            <a:r>
              <a:t>Ahorrar tiempo y dinero</a:t>
            </a:r>
            <a:endParaRPr lang="en-US" sz="3200" b="1">
              <a:solidFill>
                <a:schemeClr val="tx1">
                  <a:lumMod val="75000"/>
                  <a:lumOff val="25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ED74288-F993-2A4C-A717-1C6A7F535098}"/>
              </a:ext>
            </a:extLst>
          </p:cNvPr>
          <p:cNvSpPr txBox="1"/>
          <p:nvPr/>
        </p:nvSpPr>
        <p:spPr>
          <a:xfrm>
            <a:off x="962603" y="5136914"/>
            <a:ext cx="2544754" cy="1077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 sz="3200" b="1">
                <a:solidFill>
                  <a:schemeClr val="tx1">
                    <a:lumMod val="75000"/>
                    <a:lumOff val="25000"/>
                  </a:schemeClr>
                </a:solidFill>
              </a:defRPr>
            </a:pPr>
            <a:r>
              <a:t>Conseguir un mejor trabajo</a:t>
            </a:r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1" descr="A picture containing commencement, academic costume, graduation, person  Description automatically generated">
            <a:extLst>
              <a:ext uri="{FF2B5EF4-FFF2-40B4-BE49-F238E27FC236}">
                <a16:creationId xmlns:a16="http://schemas.microsoft.com/office/drawing/2014/main" id="{2FCB1BD8-9966-47F6-9934-DC55BBA66BF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70" r="6896" b="7294"/>
          <a:stretch/>
        </p:blipFill>
        <p:spPr>
          <a:xfrm>
            <a:off x="8186422" y="1908256"/>
            <a:ext cx="4005062" cy="2664946"/>
          </a:xfrm>
          <a:prstGeom prst="rect">
            <a:avLst/>
          </a:prstGeom>
        </p:spPr>
      </p:pic>
      <p:pic>
        <p:nvPicPr>
          <p:cNvPr id="15" name="Graphic 6">
            <a:extLst>
              <a:ext uri="{FF2B5EF4-FFF2-40B4-BE49-F238E27FC236}">
                <a16:creationId xmlns:a16="http://schemas.microsoft.com/office/drawing/2014/main" id="{4751089D-F608-11C4-D7FE-8747798B754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7010" y="5363592"/>
            <a:ext cx="469774" cy="620780"/>
          </a:xfrm>
          <a:prstGeom prst="rect">
            <a:avLst/>
          </a:prstGeom>
        </p:spPr>
      </p:pic>
      <p:pic>
        <p:nvPicPr>
          <p:cNvPr id="17" name="Graphic 7">
            <a:extLst>
              <a:ext uri="{FF2B5EF4-FFF2-40B4-BE49-F238E27FC236}">
                <a16:creationId xmlns:a16="http://schemas.microsoft.com/office/drawing/2014/main" id="{75FD2F3B-D7F7-621E-F062-E1CBD8B1925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19126" y="5364582"/>
            <a:ext cx="634955" cy="616063"/>
          </a:xfrm>
          <a:prstGeom prst="rect">
            <a:avLst/>
          </a:prstGeom>
        </p:spPr>
      </p:pic>
      <p:pic>
        <p:nvPicPr>
          <p:cNvPr id="21" name="Graphic 8">
            <a:extLst>
              <a:ext uri="{FF2B5EF4-FFF2-40B4-BE49-F238E27FC236}">
                <a16:creationId xmlns:a16="http://schemas.microsoft.com/office/drawing/2014/main" id="{35A9E54B-D6E0-9249-69DD-E5E96D4812D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934702" y="5169798"/>
            <a:ext cx="801155" cy="800497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57C208A-2769-6041-95B8-FD02113F8FA0}"/>
              </a:ext>
            </a:extLst>
          </p:cNvPr>
          <p:cNvSpPr/>
          <p:nvPr/>
        </p:nvSpPr>
        <p:spPr>
          <a:xfrm>
            <a:off x="10479505" y="-39756"/>
            <a:ext cx="1738999" cy="146886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32" name="Picture 31" descr="Text  Description automatically generated">
            <a:extLst>
              <a:ext uri="{FF2B5EF4-FFF2-40B4-BE49-F238E27FC236}">
                <a16:creationId xmlns:a16="http://schemas.microsoft.com/office/drawing/2014/main" id="{8B398843-F35C-BA42-4C0C-C1359B876CA1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849" y="298189"/>
            <a:ext cx="1313807" cy="82610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C906694-9DB0-10F7-1EAA-FC9203BA1BDC}"/>
              </a:ext>
            </a:extLst>
          </p:cNvPr>
          <p:cNvSpPr/>
          <p:nvPr/>
        </p:nvSpPr>
        <p:spPr>
          <a:xfrm>
            <a:off x="2004" y="6766034"/>
            <a:ext cx="12209701" cy="1221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678DC212-950F-B4B0-8A0D-9FF4BF546D8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-4381" y="1917322"/>
            <a:ext cx="4007688" cy="2659087"/>
          </a:xfrm>
          <a:prstGeom prst="rect">
            <a:avLst/>
          </a:prstGeom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id="{BB2363BE-6C2F-0EB5-A854-2C0CBEE4D03F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162" r="-469" b="2496"/>
          <a:stretch/>
        </p:blipFill>
        <p:spPr>
          <a:xfrm>
            <a:off x="4088350" y="1916858"/>
            <a:ext cx="4013692" cy="2653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784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87FB22B4-2951-A28D-BB5A-9D0127456D9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728" b="20221"/>
          <a:stretch/>
        </p:blipFill>
        <p:spPr>
          <a:xfrm>
            <a:off x="-25826" y="-28039"/>
            <a:ext cx="12252320" cy="611826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A3A9F34-98D4-9547-B942-3279C8707609}"/>
              </a:ext>
            </a:extLst>
          </p:cNvPr>
          <p:cNvSpPr/>
          <p:nvPr/>
        </p:nvSpPr>
        <p:spPr>
          <a:xfrm>
            <a:off x="-20625" y="5821246"/>
            <a:ext cx="12252723" cy="1035572"/>
          </a:xfrm>
          <a:prstGeom prst="rect">
            <a:avLst/>
          </a:prstGeom>
          <a:solidFill>
            <a:srgbClr val="454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3DB7BEA-64A9-8BC2-B0AF-DFD61C001233}"/>
              </a:ext>
            </a:extLst>
          </p:cNvPr>
          <p:cNvSpPr txBox="1">
            <a:spLocks/>
          </p:cNvSpPr>
          <p:nvPr/>
        </p:nvSpPr>
        <p:spPr>
          <a:xfrm>
            <a:off x="1922412" y="5962663"/>
            <a:ext cx="9844087" cy="911171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Open Sans" pitchFamily="2" charset="0"/>
                <a:cs typeface="Open Sans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Open Sans" pitchFamily="2" charset="0"/>
                <a:cs typeface="Open Sans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Open Sans" pitchFamily="2" charset="0"/>
                <a:cs typeface="Open Sans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Open Sans" pitchFamily="2" charset="0"/>
                <a:cs typeface="Open Sans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Open Sans" pitchFamily="2" charset="0"/>
                <a:cs typeface="Open Sans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 sz="4800">
                <a:solidFill>
                  <a:schemeClr val="bg1"/>
                </a:solidFill>
                <a:latin typeface="Roboto Slab Light"/>
                <a:ea typeface="Roboto Slab Light"/>
                <a:cs typeface="Open Sans"/>
              </a:defRPr>
            </a:pPr>
            <a:r>
              <a:t>Conseguir un mejor trabajo</a:t>
            </a:r>
            <a:endParaRPr lang="en-US" sz="4800">
              <a:solidFill>
                <a:schemeClr val="bg1"/>
              </a:solidFill>
              <a:latin typeface="Roboto Slab Ligh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653977-D96C-313F-7524-62BCEB14BF90}"/>
              </a:ext>
            </a:extLst>
          </p:cNvPr>
          <p:cNvSpPr/>
          <p:nvPr/>
        </p:nvSpPr>
        <p:spPr>
          <a:xfrm>
            <a:off x="952664" y="5249262"/>
            <a:ext cx="1598495" cy="1422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/>
          </a:p>
        </p:txBody>
      </p:sp>
      <p:pic>
        <p:nvPicPr>
          <p:cNvPr id="4" name="Graphic 4">
            <a:extLst>
              <a:ext uri="{FF2B5EF4-FFF2-40B4-BE49-F238E27FC236}">
                <a16:creationId xmlns:a16="http://schemas.microsoft.com/office/drawing/2014/main" id="{8415BE5B-6B1E-8B91-BD83-964AF63C94B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88022" y="5499945"/>
            <a:ext cx="923144" cy="923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205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athway 1">
      <a:dk1>
        <a:srgbClr val="313031"/>
      </a:dk1>
      <a:lt1>
        <a:srgbClr val="FFFFFF"/>
      </a:lt1>
      <a:dk2>
        <a:srgbClr val="313031"/>
      </a:dk2>
      <a:lt2>
        <a:srgbClr val="FFFFFF"/>
      </a:lt2>
      <a:accent1>
        <a:srgbClr val="FFC328"/>
      </a:accent1>
      <a:accent2>
        <a:srgbClr val="CB4927"/>
      </a:accent2>
      <a:accent3>
        <a:srgbClr val="065577"/>
      </a:accent3>
      <a:accent4>
        <a:srgbClr val="6DAAB6"/>
      </a:accent4>
      <a:accent5>
        <a:srgbClr val="BABF3C"/>
      </a:accent5>
      <a:accent6>
        <a:srgbClr val="313031"/>
      </a:accent6>
      <a:hlink>
        <a:srgbClr val="E1A740"/>
      </a:hlink>
      <a:folHlink>
        <a:srgbClr val="BD523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Pathway 2020_1">
      <a:dk1>
        <a:srgbClr val="58595B"/>
      </a:dk1>
      <a:lt1>
        <a:srgbClr val="FFFFFF"/>
      </a:lt1>
      <a:dk2>
        <a:srgbClr val="58595B"/>
      </a:dk2>
      <a:lt2>
        <a:srgbClr val="E7E6E6"/>
      </a:lt2>
      <a:accent1>
        <a:srgbClr val="FFC328"/>
      </a:accent1>
      <a:accent2>
        <a:srgbClr val="3A929D"/>
      </a:accent2>
      <a:accent3>
        <a:srgbClr val="CB4927"/>
      </a:accent3>
      <a:accent4>
        <a:srgbClr val="A2C23C"/>
      </a:accent4>
      <a:accent5>
        <a:srgbClr val="065577"/>
      </a:accent5>
      <a:accent6>
        <a:srgbClr val="000000"/>
      </a:accent6>
      <a:hlink>
        <a:srgbClr val="FFC328"/>
      </a:hlink>
      <a:folHlink>
        <a:srgbClr val="FFC328"/>
      </a:folHlink>
    </a:clrScheme>
    <a:fontScheme name="Roboto">
      <a:majorFont>
        <a:latin typeface="Roboto Slab Thin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0ae4b11-f6d3-4c60-bcd1-5d021da4370d">
      <UserInfo>
        <DisplayName>Westin Cordier</DisplayName>
        <AccountId>40</AccountId>
        <AccountType/>
      </UserInfo>
      <UserInfo>
        <DisplayName>Juston Cheney</DisplayName>
        <AccountId>11</AccountId>
        <AccountType/>
      </UserInfo>
      <UserInfo>
        <DisplayName>Brian T. Fogelberg</DisplayName>
        <AccountId>17</AccountId>
        <AccountType/>
      </UserInfo>
      <UserInfo>
        <DisplayName>John Wilson</DisplayName>
        <AccountId>35</AccountId>
        <AccountType/>
      </UserInfo>
      <UserInfo>
        <DisplayName>Makenzie Lee Stevens</DisplayName>
        <AccountId>313</AccountId>
        <AccountType/>
      </UserInfo>
      <UserInfo>
        <DisplayName>Kamile Walker</DisplayName>
        <AccountId>1533</AccountId>
        <AccountType/>
      </UserInfo>
    </SharedWithUsers>
    <TaxKeywordTaxHTField xmlns="10ae4b11-f6d3-4c60-bcd1-5d021da4370d">
      <Terms xmlns="http://schemas.microsoft.com/office/infopath/2007/PartnerControls"/>
    </TaxKeywordTaxHTField>
    <Thumbnail xmlns="99b7238d-aad9-4b76-aaaa-43d703024f67">
      <Url xsi:nil="true"/>
      <Description xsi:nil="true"/>
    </Thumbnail>
    <Picture xmlns="99b7238d-aad9-4b76-aaaa-43d703024f67">
      <Url xsi:nil="true"/>
      <Description xsi:nil="true"/>
    </Picture>
    <Caption xmlns="99b7238d-aad9-4b76-aaaa-43d703024f67" xsi:nil="true"/>
    <lcf76f155ced4ddcb4097134ff3c332f xmlns="99b7238d-aad9-4b76-aaaa-43d703024f67">
      <Terms xmlns="http://schemas.microsoft.com/office/infopath/2007/PartnerControls"/>
    </lcf76f155ced4ddcb4097134ff3c332f>
    <CanvaTemplates xmlns="99b7238d-aad9-4b76-aaaa-43d703024f67">
      <Url xsi:nil="true"/>
      <Description xsi:nil="true"/>
    </CanvaTemplates>
    <TaxCatchAll xmlns="86a4b93c-d1cc-4bd3-af56-561b2e2f2c4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5FD9DCFAAD0A439D68C893F04135D8" ma:contentTypeVersion="27" ma:contentTypeDescription="Create a new document." ma:contentTypeScope="" ma:versionID="43d6193b1f2685c77b446bf1e7cd5107">
  <xsd:schema xmlns:xsd="http://www.w3.org/2001/XMLSchema" xmlns:xs="http://www.w3.org/2001/XMLSchema" xmlns:p="http://schemas.microsoft.com/office/2006/metadata/properties" xmlns:ns2="99b7238d-aad9-4b76-aaaa-43d703024f67" xmlns:ns3="10ae4b11-f6d3-4c60-bcd1-5d021da4370d" xmlns:ns4="86a4b93c-d1cc-4bd3-af56-561b2e2f2c4a" targetNamespace="http://schemas.microsoft.com/office/2006/metadata/properties" ma:root="true" ma:fieldsID="bd20faf6af6434aab7d4e6711f32be18" ns2:_="" ns3:_="" ns4:_="">
    <xsd:import namespace="99b7238d-aad9-4b76-aaaa-43d703024f67"/>
    <xsd:import namespace="10ae4b11-f6d3-4c60-bcd1-5d021da4370d"/>
    <xsd:import namespace="86a4b93c-d1cc-4bd3-af56-561b2e2f2c4a"/>
    <xsd:element name="properties">
      <xsd:complexType>
        <xsd:sequence>
          <xsd:element name="documentManagement">
            <xsd:complexType>
              <xsd:all>
                <xsd:element ref="ns2:Thumbnail" minOccurs="0"/>
                <xsd:element ref="ns2:Picture" minOccurs="0"/>
                <xsd:element ref="ns2:Caption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  <xsd:element ref="ns3:TaxKeywordTaxHTField" minOccurs="0"/>
                <xsd:element ref="ns4:TaxCatchAll" minOccurs="0"/>
                <xsd:element ref="ns2:MediaLengthInSeconds" minOccurs="0"/>
                <xsd:element ref="ns2:lcf76f155ced4ddcb4097134ff3c332f" minOccurs="0"/>
                <xsd:element ref="ns2:CanvaTemplates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b7238d-aad9-4b76-aaaa-43d703024f67" elementFormDefault="qualified">
    <xsd:import namespace="http://schemas.microsoft.com/office/2006/documentManagement/types"/>
    <xsd:import namespace="http://schemas.microsoft.com/office/infopath/2007/PartnerControls"/>
    <xsd:element name="Thumbnail" ma:index="2" nillable="true" ma:displayName="Thumbnail" ma:format="Image" ma:internalName="Thumbnail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Picture" ma:index="4" nillable="true" ma:displayName="Picture" ma:format="Image" ma:internalName="Pictur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Caption" ma:index="5" nillable="true" ma:displayName="Caption" ma:format="Dropdown" ma:internalName="Caption" ma:readOnly="false">
      <xsd:simpleType>
        <xsd:restriction base="dms:Note">
          <xsd:maxLength value="255"/>
        </xsd:restriction>
      </xsd:simple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OCR" ma:index="12" nillable="true" ma:displayName="MediaServiceOCR" ma:hidden="true" ma:internalName="MediaServiceOCR" ma:readOnly="true">
      <xsd:simpleType>
        <xsd:restriction base="dms:Note"/>
      </xsd:simpleType>
    </xsd:element>
    <xsd:element name="MediaServiceLocation" ma:index="13" nillable="true" ma:displayName="MediaServiceLocation" ma:hidden="true" ma:internalName="MediaServiceLocation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hidden="true" ma:internalName="MediaServiceKeyPoints" ma:readOnly="true">
      <xsd:simpleType>
        <xsd:restriction base="dms:Note"/>
      </xsd:simpleType>
    </xsd:element>
    <xsd:element name="MediaLengthInSeconds" ma:index="25" nillable="true" ma:displayName="Length (seconds)" ma:hidden="true" ma:internalName="MediaLengthInSeconds" ma:readOnly="true">
      <xsd:simpleType>
        <xsd:restriction base="dms:Unknown"/>
      </xsd:simpleType>
    </xsd:element>
    <xsd:element name="lcf76f155ced4ddcb4097134ff3c332f" ma:index="28" nillable="true" ma:taxonomy="true" ma:internalName="lcf76f155ced4ddcb4097134ff3c332f" ma:taxonomyFieldName="MediaServiceImageTags" ma:displayName="Image Tags" ma:readOnly="false" ma:fieldId="{5cf76f15-5ced-4ddc-b409-7134ff3c332f}" ma:taxonomyMulti="true" ma:sspId="fc2d1c6a-5b2e-41c9-bb75-28e62ca304c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CanvaTemplates" ma:index="29" nillable="true" ma:displayName="Canva Templates" ma:description="https://www.canva.com/design/DAFDr3Cjuw4/VzWfHKhzL7vp3IpiR5tA4A/edit?utm_content=DAFDr3Cjuw4&amp;utm_campaign=designshare&amp;utm_medium=link2&amp;utm_source=sharebutton" ma:format="Hyperlink" ma:internalName="CanvaTemplates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SearchProperties" ma:index="3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ae4b11-f6d3-4c60-bcd1-5d021da4370d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  <xsd:element name="TaxKeywordTaxHTField" ma:index="22" nillable="true" ma:taxonomy="true" ma:internalName="TaxKeywordTaxHTField" ma:taxonomyFieldName="TaxKeyword" ma:displayName="Enterprise Keywords" ma:readOnly="false" ma:fieldId="{23f27201-bee3-471e-b2e7-b64fd8b7ca38}" ma:taxonomyMulti="true" ma:sspId="fc2d1c6a-5b2e-41c9-bb75-28e62ca304c6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a4b93c-d1cc-4bd3-af56-561b2e2f2c4a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998e2488-e9f8-48f9-a1c9-4c5f0b6f47e1}" ma:internalName="TaxCatchAll" ma:showField="CatchAllData" ma:web="10ae4b11-f6d3-4c60-bcd1-5d021da4370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7DB49D6-D7A1-4AE9-A68F-AD3AF7751FA2}">
  <ds:schemaRefs>
    <ds:schemaRef ds:uri="http://purl.org/dc/terms/"/>
    <ds:schemaRef ds:uri="10ae4b11-f6d3-4c60-bcd1-5d021da4370d"/>
    <ds:schemaRef ds:uri="http://schemas.microsoft.com/office/infopath/2007/PartnerControls"/>
    <ds:schemaRef ds:uri="http://purl.org/dc/elements/1.1/"/>
    <ds:schemaRef ds:uri="99b7238d-aad9-4b76-aaaa-43d703024f67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86a4b93c-d1cc-4bd3-af56-561b2e2f2c4a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504FDC2-CE3D-4E9B-A1CF-511BA57E27E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B8A55BF-1C4D-485F-A480-D53AB3E45C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9b7238d-aad9-4b76-aaaa-43d703024f67"/>
    <ds:schemaRef ds:uri="10ae4b11-f6d3-4c60-bcd1-5d021da4370d"/>
    <ds:schemaRef ds:uri="86a4b93c-d1cc-4bd3-af56-561b2e2f2c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03ef5274-90b8-4b3f-8a76-b4c36a43e904}" enabled="1" method="Privileged" siteId="{61e6eeb3-5fd7-4aaa-ae3c-61e8deb09b79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54</Words>
  <Application>Microsoft Macintosh PowerPoint</Application>
  <PresentationFormat>Widescreen</PresentationFormat>
  <Paragraphs>274</Paragraphs>
  <Slides>40</Slides>
  <Notes>34</Notes>
  <HiddenSlides>0</HiddenSlides>
  <MMClips>2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52" baseType="lpstr">
      <vt:lpstr>Arial</vt:lpstr>
      <vt:lpstr>Arvo</vt:lpstr>
      <vt:lpstr>Calibri</vt:lpstr>
      <vt:lpstr>Calibri Light</vt:lpstr>
      <vt:lpstr>Open Sans</vt:lpstr>
      <vt:lpstr>Open Sans Light</vt:lpstr>
      <vt:lpstr>Roboto Slab Light</vt:lpstr>
      <vt:lpstr>Roboto Slab Thin</vt:lpstr>
      <vt:lpstr>Zoram ldsLat</vt:lpstr>
      <vt:lpstr>Office Theme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ómo consiguen trabajo los estudiantes</vt:lpstr>
      <vt:lpstr>Trabajos remoto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subject/>
  <dc:creator>Usuario de Microsoft Office</dc:creator>
  <cp:keywords/>
  <dc:description/>
  <cp:lastModifiedBy>Brian T. Fogelberg</cp:lastModifiedBy>
  <cp:revision>3</cp:revision>
  <dcterms:created xsi:type="dcterms:W3CDTF">2017-08-29T20:07:10Z</dcterms:created>
  <dcterms:modified xsi:type="dcterms:W3CDTF">2024-01-31T17:23:0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5FD9DCFAAD0A439D68C893F04135D8</vt:lpwstr>
  </property>
  <property fmtid="{D5CDD505-2E9C-101B-9397-08002B2CF9AE}" pid="3" name="TaxKeyword">
    <vt:lpwstr/>
  </property>
  <property fmtid="{D5CDD505-2E9C-101B-9397-08002B2CF9AE}" pid="4" name="MediaServiceImageTags">
    <vt:lpwstr/>
  </property>
</Properties>
</file>